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8" r:id="rId1"/>
    <p:sldMasterId id="2147483785" r:id="rId2"/>
  </p:sldMasterIdLst>
  <p:notesMasterIdLst>
    <p:notesMasterId r:id="rId26"/>
  </p:notesMasterIdLst>
  <p:handoutMasterIdLst>
    <p:handoutMasterId r:id="rId27"/>
  </p:handoutMasterIdLst>
  <p:sldIdLst>
    <p:sldId id="391" r:id="rId3"/>
    <p:sldId id="393" r:id="rId4"/>
    <p:sldId id="343" r:id="rId5"/>
    <p:sldId id="395" r:id="rId6"/>
    <p:sldId id="394" r:id="rId7"/>
    <p:sldId id="396" r:id="rId8"/>
    <p:sldId id="397" r:id="rId9"/>
    <p:sldId id="398" r:id="rId10"/>
    <p:sldId id="356" r:id="rId11"/>
    <p:sldId id="357" r:id="rId12"/>
    <p:sldId id="353" r:id="rId13"/>
    <p:sldId id="399" r:id="rId14"/>
    <p:sldId id="358" r:id="rId15"/>
    <p:sldId id="380" r:id="rId16"/>
    <p:sldId id="359" r:id="rId17"/>
    <p:sldId id="360" r:id="rId18"/>
    <p:sldId id="383" r:id="rId19"/>
    <p:sldId id="382" r:id="rId20"/>
    <p:sldId id="381" r:id="rId21"/>
    <p:sldId id="372" r:id="rId22"/>
    <p:sldId id="385" r:id="rId23"/>
    <p:sldId id="355" r:id="rId24"/>
    <p:sldId id="390" r:id="rId25"/>
  </p:sldIdLst>
  <p:sldSz cx="9144000" cy="6858000" type="screen4x3"/>
  <p:notesSz cx="9928225" cy="6797675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1071">
          <p15:clr>
            <a:srgbClr val="A4A3A4"/>
          </p15:clr>
        </p15:guide>
        <p15:guide id="3" pos="4604">
          <p15:clr>
            <a:srgbClr val="A4A3A4"/>
          </p15:clr>
        </p15:guide>
        <p15:guide id="4" pos="476">
          <p15:clr>
            <a:srgbClr val="A4A3A4"/>
          </p15:clr>
        </p15:guide>
        <p15:guide id="5" pos="2426">
          <p15:clr>
            <a:srgbClr val="A4A3A4"/>
          </p15:clr>
        </p15:guide>
        <p15:guide id="6" pos="2653">
          <p15:clr>
            <a:srgbClr val="A4A3A4"/>
          </p15:clr>
        </p15:guide>
        <p15:guide id="7" pos="5084">
          <p15:clr>
            <a:srgbClr val="A4A3A4"/>
          </p15:clr>
        </p15:guide>
        <p15:guide id="8" orient="horz" pos="3896">
          <p15:clr>
            <a:srgbClr val="A4A3A4"/>
          </p15:clr>
        </p15:guide>
        <p15:guide id="9" orient="horz" pos="1077">
          <p15:clr>
            <a:srgbClr val="A4A3A4"/>
          </p15:clr>
        </p15:guide>
        <p15:guide id="10" orient="horz" pos="651">
          <p15:clr>
            <a:srgbClr val="A4A3A4"/>
          </p15:clr>
        </p15:guide>
        <p15:guide id="11" pos="4610">
          <p15:clr>
            <a:srgbClr val="A4A3A4"/>
          </p15:clr>
        </p15:guide>
        <p15:guide id="12" pos="480">
          <p15:clr>
            <a:srgbClr val="A4A3A4"/>
          </p15:clr>
        </p15:guide>
        <p15:guide id="13" pos="5090">
          <p15:clr>
            <a:srgbClr val="A4A3A4"/>
          </p15:clr>
        </p15:guide>
        <p15:guide id="14" orient="horz" pos="660">
          <p15:clr>
            <a:srgbClr val="A4A3A4"/>
          </p15:clr>
        </p15:guide>
        <p15:guide id="15" pos="4598">
          <p15:clr>
            <a:srgbClr val="A4A3A4"/>
          </p15:clr>
        </p15:guide>
        <p15:guide id="16" pos="50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9" userDrawn="1">
          <p15:clr>
            <a:srgbClr val="A4A3A4"/>
          </p15:clr>
        </p15:guide>
        <p15:guide id="2" pos="501" userDrawn="1">
          <p15:clr>
            <a:srgbClr val="A4A3A4"/>
          </p15:clr>
        </p15:guide>
        <p15:guide id="3" pos="575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25D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00A15C55-8517-42AA-B614-E9B94910E393}">
  <a:tblStyle styleId="{13119E49-4FFA-4100-9E20-6889F5614992}" styleName="MÜNCHNERSTIFT GmbH">
    <a:wholeTbl>
      <a:tcTxStyle>
        <a:fontRef idx="minor">
          <a:prstClr val="black"/>
        </a:fontRef>
        <a:schemeClr val="accent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</a:tcStyle>
    </a:band1H>
    <a:band2H>
      <a:tcStyle>
        <a:tcBdr/>
        <a:fill>
          <a:solidFill>
            <a:schemeClr val="accent1">
              <a:tint val="40000"/>
            </a:schemeClr>
          </a:solidFill>
        </a:fill>
      </a:tcStyle>
    </a:band2H>
    <a:band1V>
      <a:tcStyle>
        <a:tcBdr/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70" autoAdjust="0"/>
    <p:restoredTop sz="94697" autoAdjust="0"/>
  </p:normalViewPr>
  <p:slideViewPr>
    <p:cSldViewPr snapToGrid="0" showGuides="1">
      <p:cViewPr>
        <p:scale>
          <a:sx n="120" d="100"/>
          <a:sy n="120" d="100"/>
        </p:scale>
        <p:origin x="-1368" y="-4"/>
      </p:cViewPr>
      <p:guideLst>
        <p:guide orient="horz" pos="3884"/>
        <p:guide orient="horz" pos="1071"/>
        <p:guide orient="horz" pos="3896"/>
        <p:guide orient="horz" pos="1077"/>
        <p:guide orient="horz" pos="651"/>
        <p:guide orient="horz" pos="660"/>
        <p:guide pos="4604"/>
        <p:guide pos="476"/>
        <p:guide pos="2426"/>
        <p:guide pos="2653"/>
        <p:guide pos="5084"/>
        <p:guide pos="4610"/>
        <p:guide pos="480"/>
        <p:guide pos="5090"/>
        <p:guide pos="4598"/>
        <p:guide pos="50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116" d="100"/>
          <a:sy n="116" d="100"/>
        </p:scale>
        <p:origin x="2094" y="96"/>
      </p:cViewPr>
      <p:guideLst>
        <p:guide orient="horz" pos="219"/>
        <p:guide pos="501"/>
        <p:guide pos="575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183EDC-81C5-A748-ADD9-26778811C64E}" type="doc">
      <dgm:prSet loTypeId="urn:microsoft.com/office/officeart/2005/8/layout/hierarchy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1C5688DD-E143-F849-9454-0ADE20C9EBA6}">
      <dgm:prSet phldrT="[Text]" custT="1"/>
      <dgm:spPr/>
      <dgm:t>
        <a:bodyPr/>
        <a:lstStyle/>
        <a:p>
          <a:r>
            <a:rPr lang="de-DE" sz="1000" b="0" dirty="0"/>
            <a:t>Sachrisiken</a:t>
          </a:r>
        </a:p>
      </dgm:t>
    </dgm:pt>
    <dgm:pt modelId="{977A6A4B-5AAF-904F-9FA6-DD819B5C9481}" type="parTrans" cxnId="{5EF61D80-C2FE-B249-9EDF-B715FA35C431}">
      <dgm:prSet/>
      <dgm:spPr/>
      <dgm:t>
        <a:bodyPr/>
        <a:lstStyle/>
        <a:p>
          <a:endParaRPr lang="de-DE"/>
        </a:p>
      </dgm:t>
    </dgm:pt>
    <dgm:pt modelId="{5EF855F8-8FB1-064F-AC6D-9CC28F7A55AD}" type="sibTrans" cxnId="{5EF61D80-C2FE-B249-9EDF-B715FA35C431}">
      <dgm:prSet/>
      <dgm:spPr/>
      <dgm:t>
        <a:bodyPr/>
        <a:lstStyle/>
        <a:p>
          <a:endParaRPr lang="de-DE"/>
        </a:p>
      </dgm:t>
    </dgm:pt>
    <dgm:pt modelId="{CDD39F69-1CAE-684A-997A-C0CC62A3DDA0}">
      <dgm:prSet phldrT="[Text]" custT="1"/>
      <dgm:spPr/>
      <dgm:t>
        <a:bodyPr/>
        <a:lstStyle/>
        <a:p>
          <a:r>
            <a:rPr lang="de-DE" sz="1000" b="0" dirty="0"/>
            <a:t>Personen-risiken</a:t>
          </a:r>
        </a:p>
      </dgm:t>
    </dgm:pt>
    <dgm:pt modelId="{BDFE89C1-BF6D-CE4E-8F19-7BDFC69EB494}" type="parTrans" cxnId="{C85EF378-09B5-1844-AF34-78A5ACC47D79}">
      <dgm:prSet/>
      <dgm:spPr/>
      <dgm:t>
        <a:bodyPr/>
        <a:lstStyle/>
        <a:p>
          <a:endParaRPr lang="de-DE"/>
        </a:p>
      </dgm:t>
    </dgm:pt>
    <dgm:pt modelId="{35FC6566-FCC3-F744-97BD-A1EFF587AD5E}" type="sibTrans" cxnId="{C85EF378-09B5-1844-AF34-78A5ACC47D79}">
      <dgm:prSet/>
      <dgm:spPr/>
      <dgm:t>
        <a:bodyPr/>
        <a:lstStyle/>
        <a:p>
          <a:endParaRPr lang="de-DE"/>
        </a:p>
      </dgm:t>
    </dgm:pt>
    <dgm:pt modelId="{96569664-423E-BC45-A7CD-D7B3E24D001C}">
      <dgm:prSet phldrT="[Text]"/>
      <dgm:spPr/>
      <dgm:t>
        <a:bodyPr/>
        <a:lstStyle/>
        <a:p>
          <a:r>
            <a:rPr lang="de-DE" dirty="0"/>
            <a:t>Finanzen</a:t>
          </a:r>
        </a:p>
      </dgm:t>
    </dgm:pt>
    <dgm:pt modelId="{3022575A-E7F3-2E4D-838D-37F573387F15}" type="parTrans" cxnId="{3FFCDEDE-C809-D145-9FF5-6B42B18ECA54}">
      <dgm:prSet/>
      <dgm:spPr/>
      <dgm:t>
        <a:bodyPr/>
        <a:lstStyle/>
        <a:p>
          <a:endParaRPr lang="de-DE"/>
        </a:p>
      </dgm:t>
    </dgm:pt>
    <dgm:pt modelId="{DA630FFB-16F8-7F4A-B1C7-0BC68C02E1CD}" type="sibTrans" cxnId="{3FFCDEDE-C809-D145-9FF5-6B42B18ECA54}">
      <dgm:prSet/>
      <dgm:spPr/>
      <dgm:t>
        <a:bodyPr/>
        <a:lstStyle/>
        <a:p>
          <a:endParaRPr lang="de-DE"/>
        </a:p>
      </dgm:t>
    </dgm:pt>
    <dgm:pt modelId="{DF3FF052-E586-0946-A6CC-AF53EA088B36}">
      <dgm:prSet phldrT="[Text]" custT="1"/>
      <dgm:spPr/>
      <dgm:t>
        <a:bodyPr/>
        <a:lstStyle/>
        <a:p>
          <a:r>
            <a:rPr lang="de-DE" sz="1000" b="0" dirty="0"/>
            <a:t>Ausfallrisiken</a:t>
          </a:r>
        </a:p>
      </dgm:t>
    </dgm:pt>
    <dgm:pt modelId="{031BAFB7-6219-FF4A-9649-CCFA16BEF255}" type="parTrans" cxnId="{E94B21FE-6A45-A640-951F-8A1B8D629DFA}">
      <dgm:prSet/>
      <dgm:spPr/>
      <dgm:t>
        <a:bodyPr/>
        <a:lstStyle/>
        <a:p>
          <a:endParaRPr lang="de-DE"/>
        </a:p>
      </dgm:t>
    </dgm:pt>
    <dgm:pt modelId="{393BFF83-80ED-EF4E-B5A5-8325F20C0AEC}" type="sibTrans" cxnId="{E94B21FE-6A45-A640-951F-8A1B8D629DFA}">
      <dgm:prSet/>
      <dgm:spPr/>
      <dgm:t>
        <a:bodyPr/>
        <a:lstStyle/>
        <a:p>
          <a:endParaRPr lang="de-DE"/>
        </a:p>
      </dgm:t>
    </dgm:pt>
    <dgm:pt modelId="{7AD60C2E-CFF6-EF43-B34C-8D599C77C3ED}">
      <dgm:prSet phldrT="[Text]" custT="1"/>
      <dgm:spPr/>
      <dgm:t>
        <a:bodyPr/>
        <a:lstStyle/>
        <a:p>
          <a:r>
            <a:rPr lang="de-DE" sz="1000" b="0" dirty="0"/>
            <a:t>Liquiditäts-risiken</a:t>
          </a:r>
        </a:p>
      </dgm:t>
    </dgm:pt>
    <dgm:pt modelId="{FC8DAB96-C132-5346-B906-6BDE1C9173C6}" type="parTrans" cxnId="{39A88469-2577-AE46-BFD5-64375DF88431}">
      <dgm:prSet/>
      <dgm:spPr/>
      <dgm:t>
        <a:bodyPr/>
        <a:lstStyle/>
        <a:p>
          <a:endParaRPr lang="de-DE"/>
        </a:p>
      </dgm:t>
    </dgm:pt>
    <dgm:pt modelId="{99E9D391-8FAB-DC4F-8088-423688C924B4}" type="sibTrans" cxnId="{39A88469-2577-AE46-BFD5-64375DF88431}">
      <dgm:prSet/>
      <dgm:spPr/>
      <dgm:t>
        <a:bodyPr/>
        <a:lstStyle/>
        <a:p>
          <a:endParaRPr lang="de-DE"/>
        </a:p>
      </dgm:t>
    </dgm:pt>
    <dgm:pt modelId="{914BB45A-28E4-1846-930F-0BAEA8B461D9}">
      <dgm:prSet/>
      <dgm:spPr/>
      <dgm:t>
        <a:bodyPr/>
        <a:lstStyle/>
        <a:p>
          <a:r>
            <a:rPr lang="de-DE" dirty="0"/>
            <a:t>Recht</a:t>
          </a:r>
        </a:p>
      </dgm:t>
    </dgm:pt>
    <dgm:pt modelId="{E50011DB-BD26-0D4E-A418-F9F8BCE966EC}" type="parTrans" cxnId="{74320143-5381-9C4D-BF81-FA545B22F2CD}">
      <dgm:prSet/>
      <dgm:spPr/>
      <dgm:t>
        <a:bodyPr/>
        <a:lstStyle/>
        <a:p>
          <a:endParaRPr lang="de-DE"/>
        </a:p>
      </dgm:t>
    </dgm:pt>
    <dgm:pt modelId="{2A8611E3-50B8-4A4C-9425-6EADCE936763}" type="sibTrans" cxnId="{74320143-5381-9C4D-BF81-FA545B22F2CD}">
      <dgm:prSet/>
      <dgm:spPr/>
      <dgm:t>
        <a:bodyPr/>
        <a:lstStyle/>
        <a:p>
          <a:endParaRPr lang="de-DE"/>
        </a:p>
      </dgm:t>
    </dgm:pt>
    <dgm:pt modelId="{29C25600-4843-1C4B-AFDC-7B32D485603C}">
      <dgm:prSet/>
      <dgm:spPr/>
      <dgm:t>
        <a:bodyPr/>
        <a:lstStyle/>
        <a:p>
          <a:r>
            <a:rPr lang="de-DE" dirty="0"/>
            <a:t>Kodizes &amp;</a:t>
          </a:r>
          <a:br>
            <a:rPr lang="de-DE" dirty="0"/>
          </a:br>
          <a:r>
            <a:rPr lang="de-DE" dirty="0"/>
            <a:t>Standards</a:t>
          </a:r>
        </a:p>
      </dgm:t>
    </dgm:pt>
    <dgm:pt modelId="{C1E36492-F5EF-5A44-99A7-D28396CB64AE}" type="parTrans" cxnId="{FDEC375F-3ED8-6F43-9300-F0A4C85F1B93}">
      <dgm:prSet/>
      <dgm:spPr/>
      <dgm:t>
        <a:bodyPr/>
        <a:lstStyle/>
        <a:p>
          <a:endParaRPr lang="de-DE"/>
        </a:p>
      </dgm:t>
    </dgm:pt>
    <dgm:pt modelId="{2A3008F3-0B17-5C4C-86F7-7A96AACFC7B2}" type="sibTrans" cxnId="{FDEC375F-3ED8-6F43-9300-F0A4C85F1B93}">
      <dgm:prSet/>
      <dgm:spPr/>
      <dgm:t>
        <a:bodyPr/>
        <a:lstStyle/>
        <a:p>
          <a:endParaRPr lang="de-DE"/>
        </a:p>
      </dgm:t>
    </dgm:pt>
    <dgm:pt modelId="{670F812B-E6EA-C847-81C4-0F610FFD9499}">
      <dgm:prSet/>
      <dgm:spPr/>
      <dgm:t>
        <a:bodyPr/>
        <a:lstStyle/>
        <a:p>
          <a:r>
            <a:rPr lang="de-DE" dirty="0"/>
            <a:t>Grundsätze</a:t>
          </a:r>
        </a:p>
      </dgm:t>
    </dgm:pt>
    <dgm:pt modelId="{9F43808D-ABC7-604B-90EE-34912B4C395C}" type="parTrans" cxnId="{20D82F37-1779-1444-950D-4FB3FD73936F}">
      <dgm:prSet/>
      <dgm:spPr/>
      <dgm:t>
        <a:bodyPr/>
        <a:lstStyle/>
        <a:p>
          <a:endParaRPr lang="de-DE"/>
        </a:p>
      </dgm:t>
    </dgm:pt>
    <dgm:pt modelId="{60373DD5-2C7D-F54B-8595-2F82EB6EBFEC}" type="sibTrans" cxnId="{20D82F37-1779-1444-950D-4FB3FD73936F}">
      <dgm:prSet/>
      <dgm:spPr/>
      <dgm:t>
        <a:bodyPr/>
        <a:lstStyle/>
        <a:p>
          <a:endParaRPr lang="de-DE"/>
        </a:p>
      </dgm:t>
    </dgm:pt>
    <dgm:pt modelId="{6D4B6042-9360-D846-97E5-DC28FAA5300B}">
      <dgm:prSet phldrT="[Text]" custT="1"/>
      <dgm:spPr/>
      <dgm:t>
        <a:bodyPr/>
        <a:lstStyle/>
        <a:p>
          <a:r>
            <a:rPr lang="de-DE" sz="1000" b="0" dirty="0"/>
            <a:t>Marktrisiken</a:t>
          </a:r>
        </a:p>
      </dgm:t>
    </dgm:pt>
    <dgm:pt modelId="{68037816-6AE7-2E48-9F2E-3620039D8790}" type="parTrans" cxnId="{E879DB6A-93FD-B342-A580-40CA8B96183F}">
      <dgm:prSet/>
      <dgm:spPr/>
      <dgm:t>
        <a:bodyPr/>
        <a:lstStyle/>
        <a:p>
          <a:endParaRPr lang="de-DE"/>
        </a:p>
      </dgm:t>
    </dgm:pt>
    <dgm:pt modelId="{EFED4ACB-DB13-F44E-81CC-71BC3094D60C}" type="sibTrans" cxnId="{E879DB6A-93FD-B342-A580-40CA8B96183F}">
      <dgm:prSet/>
      <dgm:spPr/>
      <dgm:t>
        <a:bodyPr/>
        <a:lstStyle/>
        <a:p>
          <a:endParaRPr lang="de-DE"/>
        </a:p>
      </dgm:t>
    </dgm:pt>
    <dgm:pt modelId="{3FE0AA38-CF63-774D-AE03-D0E6E6C3CEBB}">
      <dgm:prSet phldrT="[Text]" custT="1"/>
      <dgm:spPr/>
      <dgm:t>
        <a:bodyPr/>
        <a:lstStyle/>
        <a:p>
          <a:r>
            <a:rPr lang="de-DE" sz="1000" b="0" dirty="0"/>
            <a:t>Gesundheits- und Umwelt-risiken</a:t>
          </a:r>
        </a:p>
      </dgm:t>
    </dgm:pt>
    <dgm:pt modelId="{6997E0AA-4214-1640-8010-87FA5B4F9593}" type="parTrans" cxnId="{7E3CE1E2-A0B6-F042-BCAE-EA2FF95592E1}">
      <dgm:prSet/>
      <dgm:spPr/>
      <dgm:t>
        <a:bodyPr/>
        <a:lstStyle/>
        <a:p>
          <a:endParaRPr lang="de-DE"/>
        </a:p>
      </dgm:t>
    </dgm:pt>
    <dgm:pt modelId="{EABA367E-D15E-F740-8238-06FA12BA9C3D}" type="sibTrans" cxnId="{7E3CE1E2-A0B6-F042-BCAE-EA2FF95592E1}">
      <dgm:prSet/>
      <dgm:spPr/>
      <dgm:t>
        <a:bodyPr/>
        <a:lstStyle/>
        <a:p>
          <a:endParaRPr lang="de-DE"/>
        </a:p>
      </dgm:t>
    </dgm:pt>
    <dgm:pt modelId="{774925EC-90A8-AA4C-8990-AB0CDC328DED}">
      <dgm:prSet custT="1"/>
      <dgm:spPr/>
      <dgm:t>
        <a:bodyPr/>
        <a:lstStyle/>
        <a:p>
          <a:r>
            <a:rPr lang="de-DE" sz="1000" b="0" dirty="0"/>
            <a:t>Steuerliche Risiken / Tax- Compliance</a:t>
          </a:r>
        </a:p>
      </dgm:t>
    </dgm:pt>
    <dgm:pt modelId="{99E9E2E0-C657-D746-9A3F-C1AE59957846}" type="parTrans" cxnId="{16EF460B-1785-E247-A88D-FDC78BD61384}">
      <dgm:prSet/>
      <dgm:spPr/>
      <dgm:t>
        <a:bodyPr/>
        <a:lstStyle/>
        <a:p>
          <a:endParaRPr lang="de-DE"/>
        </a:p>
      </dgm:t>
    </dgm:pt>
    <dgm:pt modelId="{B341428B-861C-8E4A-9D29-1318F5B52C4C}" type="sibTrans" cxnId="{16EF460B-1785-E247-A88D-FDC78BD61384}">
      <dgm:prSet/>
      <dgm:spPr/>
      <dgm:t>
        <a:bodyPr/>
        <a:lstStyle/>
        <a:p>
          <a:endParaRPr lang="de-DE"/>
        </a:p>
      </dgm:t>
    </dgm:pt>
    <dgm:pt modelId="{59AC7D64-A7EA-8249-8DBD-92E1099C3592}">
      <dgm:prSet custT="1"/>
      <dgm:spPr/>
      <dgm:t>
        <a:bodyPr/>
        <a:lstStyle/>
        <a:p>
          <a:r>
            <a:rPr lang="de-DE" sz="1000" b="0" dirty="0"/>
            <a:t>Gesetzliche Verpflichtung-en, z.B. Datenschutz</a:t>
          </a:r>
        </a:p>
      </dgm:t>
    </dgm:pt>
    <dgm:pt modelId="{8F562388-50C1-1648-8795-B5B33CE1AC88}" type="parTrans" cxnId="{5A877443-7815-5E42-A0C7-E0A44EF69CC9}">
      <dgm:prSet/>
      <dgm:spPr/>
      <dgm:t>
        <a:bodyPr/>
        <a:lstStyle/>
        <a:p>
          <a:endParaRPr lang="de-DE"/>
        </a:p>
      </dgm:t>
    </dgm:pt>
    <dgm:pt modelId="{921690D4-0B1F-2146-ACA8-3437C1FD8D71}" type="sibTrans" cxnId="{5A877443-7815-5E42-A0C7-E0A44EF69CC9}">
      <dgm:prSet/>
      <dgm:spPr/>
      <dgm:t>
        <a:bodyPr/>
        <a:lstStyle/>
        <a:p>
          <a:endParaRPr lang="de-DE"/>
        </a:p>
      </dgm:t>
    </dgm:pt>
    <dgm:pt modelId="{1A9FC957-DC59-9E48-9B16-B723C5C03D9F}">
      <dgm:prSet custT="1"/>
      <dgm:spPr/>
      <dgm:t>
        <a:bodyPr/>
        <a:lstStyle/>
        <a:p>
          <a:r>
            <a:rPr lang="de-DE" sz="1000" b="0" dirty="0"/>
            <a:t>Bescheide /</a:t>
          </a:r>
          <a:br>
            <a:rPr lang="de-DE" sz="1000" b="0" dirty="0"/>
          </a:br>
          <a:r>
            <a:rPr lang="de-DE" sz="1000" b="0" dirty="0"/>
            <a:t>Verordnungen</a:t>
          </a:r>
        </a:p>
      </dgm:t>
    </dgm:pt>
    <dgm:pt modelId="{06F18CA5-EB8B-4848-84D9-5ED9681D9649}" type="parTrans" cxnId="{FB777002-677E-3C44-A059-CD673C805B27}">
      <dgm:prSet/>
      <dgm:spPr/>
      <dgm:t>
        <a:bodyPr/>
        <a:lstStyle/>
        <a:p>
          <a:endParaRPr lang="de-DE"/>
        </a:p>
      </dgm:t>
    </dgm:pt>
    <dgm:pt modelId="{3A663885-4A8C-374F-B4FA-56D9DD0994E6}" type="sibTrans" cxnId="{FB777002-677E-3C44-A059-CD673C805B27}">
      <dgm:prSet/>
      <dgm:spPr/>
      <dgm:t>
        <a:bodyPr/>
        <a:lstStyle/>
        <a:p>
          <a:endParaRPr lang="de-DE"/>
        </a:p>
      </dgm:t>
    </dgm:pt>
    <dgm:pt modelId="{FF60EAFB-552E-8D46-B4DE-73F567294BD3}">
      <dgm:prSet custT="1"/>
      <dgm:spPr/>
      <dgm:t>
        <a:bodyPr/>
        <a:lstStyle/>
        <a:p>
          <a:r>
            <a:rPr lang="de-DE" sz="1000" b="0" dirty="0"/>
            <a:t>Vertragliche Verpflichtung-en</a:t>
          </a:r>
        </a:p>
      </dgm:t>
    </dgm:pt>
    <dgm:pt modelId="{442DFDF3-4FCB-D54F-9750-8FC02AEE2548}" type="parTrans" cxnId="{46EEF5A4-6B38-584D-AB2B-1741FF5DB859}">
      <dgm:prSet/>
      <dgm:spPr/>
      <dgm:t>
        <a:bodyPr/>
        <a:lstStyle/>
        <a:p>
          <a:endParaRPr lang="de-DE"/>
        </a:p>
      </dgm:t>
    </dgm:pt>
    <dgm:pt modelId="{3EA4DB36-BE03-8344-AFAC-46D9B34E4C93}" type="sibTrans" cxnId="{46EEF5A4-6B38-584D-AB2B-1741FF5DB859}">
      <dgm:prSet/>
      <dgm:spPr/>
      <dgm:t>
        <a:bodyPr/>
        <a:lstStyle/>
        <a:p>
          <a:endParaRPr lang="de-DE"/>
        </a:p>
      </dgm:t>
    </dgm:pt>
    <dgm:pt modelId="{D766EEB1-12A8-264C-8389-DBCE06C9A8F1}">
      <dgm:prSet custT="1"/>
      <dgm:spPr/>
      <dgm:t>
        <a:bodyPr/>
        <a:lstStyle/>
        <a:p>
          <a:r>
            <a:rPr lang="de-DE" sz="1000" b="0" dirty="0"/>
            <a:t>DCGK</a:t>
          </a:r>
        </a:p>
      </dgm:t>
    </dgm:pt>
    <dgm:pt modelId="{8613533B-0EAB-244E-AE11-E11EAC5FF303}" type="parTrans" cxnId="{A03F796B-079C-5044-8717-B34E4B98F9E5}">
      <dgm:prSet/>
      <dgm:spPr/>
      <dgm:t>
        <a:bodyPr/>
        <a:lstStyle/>
        <a:p>
          <a:endParaRPr lang="de-DE"/>
        </a:p>
      </dgm:t>
    </dgm:pt>
    <dgm:pt modelId="{3FA9DF0B-9E08-D045-BF78-C1F45BADB302}" type="sibTrans" cxnId="{A03F796B-079C-5044-8717-B34E4B98F9E5}">
      <dgm:prSet/>
      <dgm:spPr/>
      <dgm:t>
        <a:bodyPr/>
        <a:lstStyle/>
        <a:p>
          <a:endParaRPr lang="de-DE"/>
        </a:p>
      </dgm:t>
    </dgm:pt>
    <dgm:pt modelId="{712BB5D9-3FF3-F349-8F3F-201375F887D4}">
      <dgm:prSet custT="1"/>
      <dgm:spPr/>
      <dgm:t>
        <a:bodyPr/>
        <a:lstStyle/>
        <a:p>
          <a:r>
            <a:rPr lang="de-DE" sz="1000" b="0" dirty="0"/>
            <a:t>Branchen-spezifische Standards</a:t>
          </a:r>
        </a:p>
      </dgm:t>
    </dgm:pt>
    <dgm:pt modelId="{81FE36C9-C90A-5E4F-8CDD-F52E8A000CA9}" type="parTrans" cxnId="{810C11FC-2B7B-324B-8278-CD989E77141E}">
      <dgm:prSet/>
      <dgm:spPr/>
      <dgm:t>
        <a:bodyPr/>
        <a:lstStyle/>
        <a:p>
          <a:endParaRPr lang="de-DE"/>
        </a:p>
      </dgm:t>
    </dgm:pt>
    <dgm:pt modelId="{80659B7B-A854-AC4A-8A92-D10C5AEDD3FB}" type="sibTrans" cxnId="{810C11FC-2B7B-324B-8278-CD989E77141E}">
      <dgm:prSet/>
      <dgm:spPr/>
      <dgm:t>
        <a:bodyPr/>
        <a:lstStyle/>
        <a:p>
          <a:endParaRPr lang="de-DE"/>
        </a:p>
      </dgm:t>
    </dgm:pt>
    <dgm:pt modelId="{AEF619D3-D242-CA4F-9971-AE8A1197B1E7}">
      <dgm:prSet custT="1"/>
      <dgm:spPr/>
      <dgm:t>
        <a:bodyPr/>
        <a:lstStyle/>
        <a:p>
          <a:r>
            <a:rPr lang="de-DE" sz="1000" b="0" dirty="0"/>
            <a:t>Interne Richtlinien</a:t>
          </a:r>
        </a:p>
      </dgm:t>
    </dgm:pt>
    <dgm:pt modelId="{A4F6FFF9-2079-7349-868D-AF325CD4FC8F}" type="parTrans" cxnId="{F1DEE925-6A76-4E45-BADF-5A9ACD50D92F}">
      <dgm:prSet/>
      <dgm:spPr/>
      <dgm:t>
        <a:bodyPr/>
        <a:lstStyle/>
        <a:p>
          <a:endParaRPr lang="de-DE"/>
        </a:p>
      </dgm:t>
    </dgm:pt>
    <dgm:pt modelId="{07353784-B007-B64D-8E08-B016213BB633}" type="sibTrans" cxnId="{F1DEE925-6A76-4E45-BADF-5A9ACD50D92F}">
      <dgm:prSet/>
      <dgm:spPr/>
      <dgm:t>
        <a:bodyPr/>
        <a:lstStyle/>
        <a:p>
          <a:endParaRPr lang="de-DE"/>
        </a:p>
      </dgm:t>
    </dgm:pt>
    <dgm:pt modelId="{9351739C-7505-7944-8757-F2C989F03EA9}">
      <dgm:prSet custT="1"/>
      <dgm:spPr/>
      <dgm:t>
        <a:bodyPr/>
        <a:lstStyle/>
        <a:p>
          <a:r>
            <a:rPr lang="de-DE" sz="1000" b="0" dirty="0"/>
            <a:t>Anweisungen</a:t>
          </a:r>
        </a:p>
      </dgm:t>
    </dgm:pt>
    <dgm:pt modelId="{5CF9270A-72FD-4042-8E3B-9388C195C75F}" type="parTrans" cxnId="{919C4F60-C144-BA43-853A-B92AEBAA422C}">
      <dgm:prSet/>
      <dgm:spPr/>
      <dgm:t>
        <a:bodyPr/>
        <a:lstStyle/>
        <a:p>
          <a:endParaRPr lang="de-DE"/>
        </a:p>
      </dgm:t>
    </dgm:pt>
    <dgm:pt modelId="{0A2F1369-36BA-FD44-A3B5-52460F22A6D7}" type="sibTrans" cxnId="{919C4F60-C144-BA43-853A-B92AEBAA422C}">
      <dgm:prSet/>
      <dgm:spPr/>
      <dgm:t>
        <a:bodyPr/>
        <a:lstStyle/>
        <a:p>
          <a:endParaRPr lang="de-DE"/>
        </a:p>
      </dgm:t>
    </dgm:pt>
    <dgm:pt modelId="{2006CE84-2B9D-8543-9538-BC7F6A86C262}">
      <dgm:prSet custT="1"/>
      <dgm:spPr/>
      <dgm:t>
        <a:bodyPr/>
        <a:lstStyle/>
        <a:p>
          <a:r>
            <a:rPr lang="de-DE" sz="1000" b="0" dirty="0"/>
            <a:t>Allg. Verhalten</a:t>
          </a:r>
        </a:p>
      </dgm:t>
    </dgm:pt>
    <dgm:pt modelId="{A6AB9058-F4F6-0F46-92C4-451637659D00}" type="parTrans" cxnId="{05D09F0C-93FD-D94A-B9E4-3385EE9C43FC}">
      <dgm:prSet/>
      <dgm:spPr/>
      <dgm:t>
        <a:bodyPr/>
        <a:lstStyle/>
        <a:p>
          <a:endParaRPr lang="de-DE"/>
        </a:p>
      </dgm:t>
    </dgm:pt>
    <dgm:pt modelId="{B74ECC3D-3DE1-C84A-9F1B-4417A92A08C5}" type="sibTrans" cxnId="{05D09F0C-93FD-D94A-B9E4-3385EE9C43FC}">
      <dgm:prSet/>
      <dgm:spPr/>
      <dgm:t>
        <a:bodyPr/>
        <a:lstStyle/>
        <a:p>
          <a:endParaRPr lang="de-DE"/>
        </a:p>
      </dgm:t>
    </dgm:pt>
    <dgm:pt modelId="{92E56F4C-8F8B-2744-ABF4-7F423C2B0453}">
      <dgm:prSet/>
      <dgm:spPr/>
      <dgm:t>
        <a:bodyPr/>
        <a:lstStyle/>
        <a:p>
          <a:r>
            <a:rPr lang="de-DE" dirty="0"/>
            <a:t>Leistung</a:t>
          </a:r>
        </a:p>
      </dgm:t>
    </dgm:pt>
    <dgm:pt modelId="{B4993311-0662-B64A-9A8D-9F204964F57B}" type="parTrans" cxnId="{2F41C9B5-4018-8A4B-B064-843D7EAD358F}">
      <dgm:prSet/>
      <dgm:spPr/>
      <dgm:t>
        <a:bodyPr/>
        <a:lstStyle/>
        <a:p>
          <a:endParaRPr lang="de-DE"/>
        </a:p>
      </dgm:t>
    </dgm:pt>
    <dgm:pt modelId="{5CA4B943-A8C3-5243-838D-25F914FCC2AE}" type="sibTrans" cxnId="{2F41C9B5-4018-8A4B-B064-843D7EAD358F}">
      <dgm:prSet/>
      <dgm:spPr/>
      <dgm:t>
        <a:bodyPr/>
        <a:lstStyle/>
        <a:p>
          <a:endParaRPr lang="de-DE"/>
        </a:p>
      </dgm:t>
    </dgm:pt>
    <dgm:pt modelId="{66789DCC-AB29-EB4E-9966-4BAE8FA4F977}">
      <dgm:prSet/>
      <dgm:spPr/>
      <dgm:t>
        <a:bodyPr/>
        <a:lstStyle/>
        <a:p>
          <a:r>
            <a:rPr lang="de-DE" b="0" dirty="0"/>
            <a:t>Strategie &amp; </a:t>
          </a:r>
          <a:br>
            <a:rPr lang="de-DE" b="0" dirty="0"/>
          </a:br>
          <a:r>
            <a:rPr lang="de-DE" b="0" dirty="0"/>
            <a:t>Organisation</a:t>
          </a:r>
        </a:p>
      </dgm:t>
    </dgm:pt>
    <dgm:pt modelId="{8CB7409A-C06A-724C-BCEA-D32E952636A2}" type="parTrans" cxnId="{66F8F9F6-710E-5142-86E7-0983ED126F26}">
      <dgm:prSet/>
      <dgm:spPr/>
      <dgm:t>
        <a:bodyPr/>
        <a:lstStyle/>
        <a:p>
          <a:endParaRPr lang="de-DE"/>
        </a:p>
      </dgm:t>
    </dgm:pt>
    <dgm:pt modelId="{9238850E-2FB4-9843-A984-6086E20CBB19}" type="sibTrans" cxnId="{66F8F9F6-710E-5142-86E7-0983ED126F26}">
      <dgm:prSet/>
      <dgm:spPr/>
      <dgm:t>
        <a:bodyPr/>
        <a:lstStyle/>
        <a:p>
          <a:endParaRPr lang="de-DE"/>
        </a:p>
      </dgm:t>
    </dgm:pt>
    <dgm:pt modelId="{C1AB657C-009F-C043-AE27-502FFC2E6E5B}">
      <dgm:prSet custT="1"/>
      <dgm:spPr/>
      <dgm:t>
        <a:bodyPr/>
        <a:lstStyle/>
        <a:p>
          <a:r>
            <a:rPr lang="de-DE" sz="1000" b="0" dirty="0"/>
            <a:t>Strategie des </a:t>
          </a:r>
          <a:br>
            <a:rPr lang="de-DE" sz="1000" b="0" dirty="0"/>
          </a:br>
          <a:r>
            <a:rPr lang="de-DE" sz="1000" b="0" dirty="0"/>
            <a:t>Unternehmens</a:t>
          </a:r>
        </a:p>
      </dgm:t>
    </dgm:pt>
    <dgm:pt modelId="{2BB1A46E-E7A0-324E-A148-0689DD215505}" type="parTrans" cxnId="{E09F64A8-6340-6B44-98BC-369E721152C8}">
      <dgm:prSet/>
      <dgm:spPr/>
      <dgm:t>
        <a:bodyPr/>
        <a:lstStyle/>
        <a:p>
          <a:endParaRPr lang="de-DE"/>
        </a:p>
      </dgm:t>
    </dgm:pt>
    <dgm:pt modelId="{9F5250CF-5E19-064D-B744-0DE4874A3730}" type="sibTrans" cxnId="{E09F64A8-6340-6B44-98BC-369E721152C8}">
      <dgm:prSet/>
      <dgm:spPr/>
      <dgm:t>
        <a:bodyPr/>
        <a:lstStyle/>
        <a:p>
          <a:endParaRPr lang="de-DE"/>
        </a:p>
      </dgm:t>
    </dgm:pt>
    <dgm:pt modelId="{8068FE50-D31B-E54E-BB77-90BBCFD8E454}">
      <dgm:prSet custT="1"/>
      <dgm:spPr/>
      <dgm:t>
        <a:bodyPr/>
        <a:lstStyle/>
        <a:p>
          <a:r>
            <a:rPr lang="de-DE" sz="1000" b="0" dirty="0"/>
            <a:t>Standorte</a:t>
          </a:r>
        </a:p>
      </dgm:t>
    </dgm:pt>
    <dgm:pt modelId="{FD4C3210-A752-A54F-9D27-3885CCFB7C72}" type="parTrans" cxnId="{E5A9790E-8C26-504F-B477-769941646CB4}">
      <dgm:prSet/>
      <dgm:spPr/>
      <dgm:t>
        <a:bodyPr/>
        <a:lstStyle/>
        <a:p>
          <a:endParaRPr lang="de-DE"/>
        </a:p>
      </dgm:t>
    </dgm:pt>
    <dgm:pt modelId="{AD5B8DA4-AE3D-E44D-823D-041124E7EBF2}" type="sibTrans" cxnId="{E5A9790E-8C26-504F-B477-769941646CB4}">
      <dgm:prSet/>
      <dgm:spPr/>
      <dgm:t>
        <a:bodyPr/>
        <a:lstStyle/>
        <a:p>
          <a:endParaRPr lang="de-DE"/>
        </a:p>
      </dgm:t>
    </dgm:pt>
    <dgm:pt modelId="{6A644D1A-35C3-3041-805B-1C46C3FDFC45}">
      <dgm:prSet custT="1"/>
      <dgm:spPr/>
      <dgm:t>
        <a:bodyPr/>
        <a:lstStyle/>
        <a:p>
          <a:r>
            <a:rPr lang="de-DE" sz="1000" b="0"/>
            <a:t>Kompetenz-verteilung</a:t>
          </a:r>
          <a:endParaRPr lang="de-DE" sz="1000" b="0" dirty="0"/>
        </a:p>
      </dgm:t>
    </dgm:pt>
    <dgm:pt modelId="{5F426DC0-2828-854D-AF6F-3A351F7195FF}" type="parTrans" cxnId="{C7988F99-05C2-044B-8EA0-F817870E2AD6}">
      <dgm:prSet/>
      <dgm:spPr/>
      <dgm:t>
        <a:bodyPr/>
        <a:lstStyle/>
        <a:p>
          <a:endParaRPr lang="de-DE"/>
        </a:p>
      </dgm:t>
    </dgm:pt>
    <dgm:pt modelId="{DA6EF46C-CBEE-B643-872E-B523659ABE64}" type="sibTrans" cxnId="{C7988F99-05C2-044B-8EA0-F817870E2AD6}">
      <dgm:prSet/>
      <dgm:spPr/>
      <dgm:t>
        <a:bodyPr/>
        <a:lstStyle/>
        <a:p>
          <a:endParaRPr lang="de-DE"/>
        </a:p>
      </dgm:t>
    </dgm:pt>
    <dgm:pt modelId="{631C176D-4C7D-754A-9089-38EEDB90C87D}" type="pres">
      <dgm:prSet presAssocID="{16183EDC-81C5-A748-ADD9-26778811C64E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0FF08791-2742-834D-A289-2545EADE6C2B}" type="pres">
      <dgm:prSet presAssocID="{66789DCC-AB29-EB4E-9966-4BAE8FA4F977}" presName="root" presStyleCnt="0"/>
      <dgm:spPr/>
    </dgm:pt>
    <dgm:pt modelId="{89F94376-DAB9-0C42-8165-FB57B34F9A41}" type="pres">
      <dgm:prSet presAssocID="{66789DCC-AB29-EB4E-9966-4BAE8FA4F977}" presName="rootComposite" presStyleCnt="0"/>
      <dgm:spPr/>
    </dgm:pt>
    <dgm:pt modelId="{BEB6C038-BCB6-6341-BCE4-2F421AB6D901}" type="pres">
      <dgm:prSet presAssocID="{66789DCC-AB29-EB4E-9966-4BAE8FA4F977}" presName="rootText" presStyleLbl="node1" presStyleIdx="0" presStyleCnt="6"/>
      <dgm:spPr/>
      <dgm:t>
        <a:bodyPr/>
        <a:lstStyle/>
        <a:p>
          <a:endParaRPr lang="de-DE"/>
        </a:p>
      </dgm:t>
    </dgm:pt>
    <dgm:pt modelId="{88043617-8701-BC44-A0D8-3BFCAAE62A4C}" type="pres">
      <dgm:prSet presAssocID="{66789DCC-AB29-EB4E-9966-4BAE8FA4F977}" presName="rootConnector" presStyleLbl="node1" presStyleIdx="0" presStyleCnt="6"/>
      <dgm:spPr/>
      <dgm:t>
        <a:bodyPr/>
        <a:lstStyle/>
        <a:p>
          <a:endParaRPr lang="de-DE"/>
        </a:p>
      </dgm:t>
    </dgm:pt>
    <dgm:pt modelId="{4E5566B1-A02D-E74A-AD2B-8B7CECA54605}" type="pres">
      <dgm:prSet presAssocID="{66789DCC-AB29-EB4E-9966-4BAE8FA4F977}" presName="childShape" presStyleCnt="0"/>
      <dgm:spPr/>
    </dgm:pt>
    <dgm:pt modelId="{F5CDB006-D571-954D-94CE-8F49ED6A33B8}" type="pres">
      <dgm:prSet presAssocID="{2BB1A46E-E7A0-324E-A148-0689DD215505}" presName="Name13" presStyleLbl="parChTrans1D2" presStyleIdx="0" presStyleCnt="18"/>
      <dgm:spPr/>
      <dgm:t>
        <a:bodyPr/>
        <a:lstStyle/>
        <a:p>
          <a:endParaRPr lang="de-DE"/>
        </a:p>
      </dgm:t>
    </dgm:pt>
    <dgm:pt modelId="{3DC6859C-B874-DC44-A7E1-51E9A88147E5}" type="pres">
      <dgm:prSet presAssocID="{C1AB657C-009F-C043-AE27-502FFC2E6E5B}" presName="childText" presStyleLbl="bgAcc1" presStyleIdx="0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14B68B3-FBBA-384A-AF82-B9BFEE9D9052}" type="pres">
      <dgm:prSet presAssocID="{FD4C3210-A752-A54F-9D27-3885CCFB7C72}" presName="Name13" presStyleLbl="parChTrans1D2" presStyleIdx="1" presStyleCnt="18"/>
      <dgm:spPr/>
      <dgm:t>
        <a:bodyPr/>
        <a:lstStyle/>
        <a:p>
          <a:endParaRPr lang="de-DE"/>
        </a:p>
      </dgm:t>
    </dgm:pt>
    <dgm:pt modelId="{9EC1B288-1C1A-BF4D-81DF-70A7F5CF0860}" type="pres">
      <dgm:prSet presAssocID="{8068FE50-D31B-E54E-BB77-90BBCFD8E454}" presName="childText" presStyleLbl="bgAcc1" presStyleIdx="1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7F2F591-6950-2A41-BEC8-46682B9070FE}" type="pres">
      <dgm:prSet presAssocID="{5F426DC0-2828-854D-AF6F-3A351F7195FF}" presName="Name13" presStyleLbl="parChTrans1D2" presStyleIdx="2" presStyleCnt="18"/>
      <dgm:spPr/>
      <dgm:t>
        <a:bodyPr/>
        <a:lstStyle/>
        <a:p>
          <a:endParaRPr lang="de-DE"/>
        </a:p>
      </dgm:t>
    </dgm:pt>
    <dgm:pt modelId="{75DC598B-4859-6C42-8FAE-FC1454E10AD8}" type="pres">
      <dgm:prSet presAssocID="{6A644D1A-35C3-3041-805B-1C46C3FDFC45}" presName="childText" presStyleLbl="bgAcc1" presStyleIdx="2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9BE269D-D7F8-5247-A3EE-41E55A513E58}" type="pres">
      <dgm:prSet presAssocID="{92E56F4C-8F8B-2744-ABF4-7F423C2B0453}" presName="root" presStyleCnt="0"/>
      <dgm:spPr/>
    </dgm:pt>
    <dgm:pt modelId="{C37038DE-7D4A-B54C-93BB-FE5342C39837}" type="pres">
      <dgm:prSet presAssocID="{92E56F4C-8F8B-2744-ABF4-7F423C2B0453}" presName="rootComposite" presStyleCnt="0"/>
      <dgm:spPr/>
    </dgm:pt>
    <dgm:pt modelId="{78291BD7-8A7A-D24D-88F3-60175C1A7DC1}" type="pres">
      <dgm:prSet presAssocID="{92E56F4C-8F8B-2744-ABF4-7F423C2B0453}" presName="rootText" presStyleLbl="node1" presStyleIdx="1" presStyleCnt="6"/>
      <dgm:spPr/>
      <dgm:t>
        <a:bodyPr/>
        <a:lstStyle/>
        <a:p>
          <a:endParaRPr lang="de-DE"/>
        </a:p>
      </dgm:t>
    </dgm:pt>
    <dgm:pt modelId="{4F684EEA-6E8F-CC48-8C9C-5D312C1168D0}" type="pres">
      <dgm:prSet presAssocID="{92E56F4C-8F8B-2744-ABF4-7F423C2B0453}" presName="rootConnector" presStyleLbl="node1" presStyleIdx="1" presStyleCnt="6"/>
      <dgm:spPr/>
      <dgm:t>
        <a:bodyPr/>
        <a:lstStyle/>
        <a:p>
          <a:endParaRPr lang="de-DE"/>
        </a:p>
      </dgm:t>
    </dgm:pt>
    <dgm:pt modelId="{832F9293-314E-DD48-844C-CE35252C645F}" type="pres">
      <dgm:prSet presAssocID="{92E56F4C-8F8B-2744-ABF4-7F423C2B0453}" presName="childShape" presStyleCnt="0"/>
      <dgm:spPr/>
    </dgm:pt>
    <dgm:pt modelId="{CC4895DA-7F1D-E143-8072-852349EB24A4}" type="pres">
      <dgm:prSet presAssocID="{977A6A4B-5AAF-904F-9FA6-DD819B5C9481}" presName="Name13" presStyleLbl="parChTrans1D2" presStyleIdx="3" presStyleCnt="18"/>
      <dgm:spPr/>
      <dgm:t>
        <a:bodyPr/>
        <a:lstStyle/>
        <a:p>
          <a:endParaRPr lang="de-DE"/>
        </a:p>
      </dgm:t>
    </dgm:pt>
    <dgm:pt modelId="{C1A27AEF-5433-4846-8559-C636B5DE159F}" type="pres">
      <dgm:prSet presAssocID="{1C5688DD-E143-F849-9454-0ADE20C9EBA6}" presName="childText" presStyleLbl="bgAcc1" presStyleIdx="3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818698-3528-C147-8F2E-68B7A1301A74}" type="pres">
      <dgm:prSet presAssocID="{BDFE89C1-BF6D-CE4E-8F19-7BDFC69EB494}" presName="Name13" presStyleLbl="parChTrans1D2" presStyleIdx="4" presStyleCnt="18"/>
      <dgm:spPr/>
      <dgm:t>
        <a:bodyPr/>
        <a:lstStyle/>
        <a:p>
          <a:endParaRPr lang="de-DE"/>
        </a:p>
      </dgm:t>
    </dgm:pt>
    <dgm:pt modelId="{AB5B08C6-59FE-FC45-AE74-543A81103A60}" type="pres">
      <dgm:prSet presAssocID="{CDD39F69-1CAE-684A-997A-C0CC62A3DDA0}" presName="childText" presStyleLbl="bgAcc1" presStyleIdx="4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DB96CAD-2534-FE48-AC39-0BC7805CB8AA}" type="pres">
      <dgm:prSet presAssocID="{68037816-6AE7-2E48-9F2E-3620039D8790}" presName="Name13" presStyleLbl="parChTrans1D2" presStyleIdx="5" presStyleCnt="18"/>
      <dgm:spPr/>
      <dgm:t>
        <a:bodyPr/>
        <a:lstStyle/>
        <a:p>
          <a:endParaRPr lang="de-DE"/>
        </a:p>
      </dgm:t>
    </dgm:pt>
    <dgm:pt modelId="{B8948FDF-3F85-A445-9B2F-1087760FF668}" type="pres">
      <dgm:prSet presAssocID="{6D4B6042-9360-D846-97E5-DC28FAA5300B}" presName="childText" presStyleLbl="bgAcc1" presStyleIdx="5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30CA7E5-7CD8-ED4E-9647-624109263B25}" type="pres">
      <dgm:prSet presAssocID="{6997E0AA-4214-1640-8010-87FA5B4F9593}" presName="Name13" presStyleLbl="parChTrans1D2" presStyleIdx="6" presStyleCnt="18"/>
      <dgm:spPr/>
      <dgm:t>
        <a:bodyPr/>
        <a:lstStyle/>
        <a:p>
          <a:endParaRPr lang="de-DE"/>
        </a:p>
      </dgm:t>
    </dgm:pt>
    <dgm:pt modelId="{B01B69BF-0024-6246-AA85-3D3C61D31FDA}" type="pres">
      <dgm:prSet presAssocID="{3FE0AA38-CF63-774D-AE03-D0E6E6C3CEBB}" presName="childText" presStyleLbl="bgAcc1" presStyleIdx="6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FE24435-6EFF-3D4F-A7F7-C26D694A9506}" type="pres">
      <dgm:prSet presAssocID="{96569664-423E-BC45-A7CD-D7B3E24D001C}" presName="root" presStyleCnt="0"/>
      <dgm:spPr/>
    </dgm:pt>
    <dgm:pt modelId="{BFE545C0-CE2D-BC41-83DC-9FD1B033F073}" type="pres">
      <dgm:prSet presAssocID="{96569664-423E-BC45-A7CD-D7B3E24D001C}" presName="rootComposite" presStyleCnt="0"/>
      <dgm:spPr/>
    </dgm:pt>
    <dgm:pt modelId="{73723C24-A949-CE44-8C5D-661F69F4B72F}" type="pres">
      <dgm:prSet presAssocID="{96569664-423E-BC45-A7CD-D7B3E24D001C}" presName="rootText" presStyleLbl="node1" presStyleIdx="2" presStyleCnt="6"/>
      <dgm:spPr/>
      <dgm:t>
        <a:bodyPr/>
        <a:lstStyle/>
        <a:p>
          <a:endParaRPr lang="de-DE"/>
        </a:p>
      </dgm:t>
    </dgm:pt>
    <dgm:pt modelId="{E4E50D14-47B6-DE46-8C17-B07DD67DF376}" type="pres">
      <dgm:prSet presAssocID="{96569664-423E-BC45-A7CD-D7B3E24D001C}" presName="rootConnector" presStyleLbl="node1" presStyleIdx="2" presStyleCnt="6"/>
      <dgm:spPr/>
      <dgm:t>
        <a:bodyPr/>
        <a:lstStyle/>
        <a:p>
          <a:endParaRPr lang="de-DE"/>
        </a:p>
      </dgm:t>
    </dgm:pt>
    <dgm:pt modelId="{3867C5B0-BF62-324F-A56E-81C23FABD689}" type="pres">
      <dgm:prSet presAssocID="{96569664-423E-BC45-A7CD-D7B3E24D001C}" presName="childShape" presStyleCnt="0"/>
      <dgm:spPr/>
    </dgm:pt>
    <dgm:pt modelId="{D048CD21-176C-DF4A-83BA-88473161EA9B}" type="pres">
      <dgm:prSet presAssocID="{031BAFB7-6219-FF4A-9649-CCFA16BEF255}" presName="Name13" presStyleLbl="parChTrans1D2" presStyleIdx="7" presStyleCnt="18"/>
      <dgm:spPr/>
      <dgm:t>
        <a:bodyPr/>
        <a:lstStyle/>
        <a:p>
          <a:endParaRPr lang="de-DE"/>
        </a:p>
      </dgm:t>
    </dgm:pt>
    <dgm:pt modelId="{E3F0866D-7DB0-BD45-9FB6-118339B5A499}" type="pres">
      <dgm:prSet presAssocID="{DF3FF052-E586-0946-A6CC-AF53EA088B36}" presName="childText" presStyleLbl="bgAcc1" presStyleIdx="7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26DD9CE-4CEA-434D-9A8A-64A1E56B0E09}" type="pres">
      <dgm:prSet presAssocID="{FC8DAB96-C132-5346-B906-6BDE1C9173C6}" presName="Name13" presStyleLbl="parChTrans1D2" presStyleIdx="8" presStyleCnt="18"/>
      <dgm:spPr/>
      <dgm:t>
        <a:bodyPr/>
        <a:lstStyle/>
        <a:p>
          <a:endParaRPr lang="de-DE"/>
        </a:p>
      </dgm:t>
    </dgm:pt>
    <dgm:pt modelId="{4A0AB8A5-0988-CE43-89AA-DEEE97DEDD17}" type="pres">
      <dgm:prSet presAssocID="{7AD60C2E-CFF6-EF43-B34C-8D599C77C3ED}" presName="childText" presStyleLbl="bgAcc1" presStyleIdx="8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235B0B9-B30C-D249-A3A1-E96A85B6091D}" type="pres">
      <dgm:prSet presAssocID="{99E9E2E0-C657-D746-9A3F-C1AE59957846}" presName="Name13" presStyleLbl="parChTrans1D2" presStyleIdx="9" presStyleCnt="18"/>
      <dgm:spPr/>
      <dgm:t>
        <a:bodyPr/>
        <a:lstStyle/>
        <a:p>
          <a:endParaRPr lang="de-DE"/>
        </a:p>
      </dgm:t>
    </dgm:pt>
    <dgm:pt modelId="{B6257C21-35A0-F34D-86F2-C33829C8B6F6}" type="pres">
      <dgm:prSet presAssocID="{774925EC-90A8-AA4C-8990-AB0CDC328DED}" presName="childText" presStyleLbl="bgAcc1" presStyleIdx="9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613D4AD-6D21-2C45-80B3-9B0161DF4966}" type="pres">
      <dgm:prSet presAssocID="{914BB45A-28E4-1846-930F-0BAEA8B461D9}" presName="root" presStyleCnt="0"/>
      <dgm:spPr/>
    </dgm:pt>
    <dgm:pt modelId="{16047F37-A878-1349-BAD0-D08CA2680E69}" type="pres">
      <dgm:prSet presAssocID="{914BB45A-28E4-1846-930F-0BAEA8B461D9}" presName="rootComposite" presStyleCnt="0"/>
      <dgm:spPr/>
    </dgm:pt>
    <dgm:pt modelId="{C6A95AB0-3CDD-6B4F-9A50-83AAFF7EAE71}" type="pres">
      <dgm:prSet presAssocID="{914BB45A-28E4-1846-930F-0BAEA8B461D9}" presName="rootText" presStyleLbl="node1" presStyleIdx="3" presStyleCnt="6"/>
      <dgm:spPr/>
      <dgm:t>
        <a:bodyPr/>
        <a:lstStyle/>
        <a:p>
          <a:endParaRPr lang="de-DE"/>
        </a:p>
      </dgm:t>
    </dgm:pt>
    <dgm:pt modelId="{81E54D32-2A1C-974D-B519-119440DD7B0F}" type="pres">
      <dgm:prSet presAssocID="{914BB45A-28E4-1846-930F-0BAEA8B461D9}" presName="rootConnector" presStyleLbl="node1" presStyleIdx="3" presStyleCnt="6"/>
      <dgm:spPr/>
      <dgm:t>
        <a:bodyPr/>
        <a:lstStyle/>
        <a:p>
          <a:endParaRPr lang="de-DE"/>
        </a:p>
      </dgm:t>
    </dgm:pt>
    <dgm:pt modelId="{27949954-E46E-704C-81A1-9D93DB1D31B7}" type="pres">
      <dgm:prSet presAssocID="{914BB45A-28E4-1846-930F-0BAEA8B461D9}" presName="childShape" presStyleCnt="0"/>
      <dgm:spPr/>
    </dgm:pt>
    <dgm:pt modelId="{C0FC3D16-0144-0843-9593-11C84C5BF610}" type="pres">
      <dgm:prSet presAssocID="{8F562388-50C1-1648-8795-B5B33CE1AC88}" presName="Name13" presStyleLbl="parChTrans1D2" presStyleIdx="10" presStyleCnt="18"/>
      <dgm:spPr/>
      <dgm:t>
        <a:bodyPr/>
        <a:lstStyle/>
        <a:p>
          <a:endParaRPr lang="de-DE"/>
        </a:p>
      </dgm:t>
    </dgm:pt>
    <dgm:pt modelId="{DD094C76-1F3F-3F47-9081-7B6C354A95CE}" type="pres">
      <dgm:prSet presAssocID="{59AC7D64-A7EA-8249-8DBD-92E1099C3592}" presName="childText" presStyleLbl="bgAcc1" presStyleIdx="10" presStyleCnt="18" custLinFactNeighborX="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AEB3239-12B5-7B4C-B750-BF9EC1E08392}" type="pres">
      <dgm:prSet presAssocID="{06F18CA5-EB8B-4848-84D9-5ED9681D9649}" presName="Name13" presStyleLbl="parChTrans1D2" presStyleIdx="11" presStyleCnt="18"/>
      <dgm:spPr/>
      <dgm:t>
        <a:bodyPr/>
        <a:lstStyle/>
        <a:p>
          <a:endParaRPr lang="de-DE"/>
        </a:p>
      </dgm:t>
    </dgm:pt>
    <dgm:pt modelId="{74A8D3CC-B269-634B-AB55-57B6B948B3BB}" type="pres">
      <dgm:prSet presAssocID="{1A9FC957-DC59-9E48-9B16-B723C5C03D9F}" presName="childText" presStyleLbl="bgAcc1" presStyleIdx="11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B6424F3-19D2-B543-963D-662FE6E95D87}" type="pres">
      <dgm:prSet presAssocID="{442DFDF3-4FCB-D54F-9750-8FC02AEE2548}" presName="Name13" presStyleLbl="parChTrans1D2" presStyleIdx="12" presStyleCnt="18"/>
      <dgm:spPr/>
      <dgm:t>
        <a:bodyPr/>
        <a:lstStyle/>
        <a:p>
          <a:endParaRPr lang="de-DE"/>
        </a:p>
      </dgm:t>
    </dgm:pt>
    <dgm:pt modelId="{CCA42568-3465-5B43-96E8-AAFAA149BD9B}" type="pres">
      <dgm:prSet presAssocID="{FF60EAFB-552E-8D46-B4DE-73F567294BD3}" presName="childText" presStyleLbl="bgAcc1" presStyleIdx="12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0D965F7-AB22-C448-B706-4509649A9905}" type="pres">
      <dgm:prSet presAssocID="{29C25600-4843-1C4B-AFDC-7B32D485603C}" presName="root" presStyleCnt="0"/>
      <dgm:spPr/>
    </dgm:pt>
    <dgm:pt modelId="{2F07CC74-993B-D840-9F5F-5F99DF43F092}" type="pres">
      <dgm:prSet presAssocID="{29C25600-4843-1C4B-AFDC-7B32D485603C}" presName="rootComposite" presStyleCnt="0"/>
      <dgm:spPr/>
    </dgm:pt>
    <dgm:pt modelId="{89C41EA6-ABFD-C642-B50C-475EA919784F}" type="pres">
      <dgm:prSet presAssocID="{29C25600-4843-1C4B-AFDC-7B32D485603C}" presName="rootText" presStyleLbl="node1" presStyleIdx="4" presStyleCnt="6"/>
      <dgm:spPr/>
      <dgm:t>
        <a:bodyPr/>
        <a:lstStyle/>
        <a:p>
          <a:endParaRPr lang="de-DE"/>
        </a:p>
      </dgm:t>
    </dgm:pt>
    <dgm:pt modelId="{219AB183-8D6E-714C-8598-60824B0DB551}" type="pres">
      <dgm:prSet presAssocID="{29C25600-4843-1C4B-AFDC-7B32D485603C}" presName="rootConnector" presStyleLbl="node1" presStyleIdx="4" presStyleCnt="6"/>
      <dgm:spPr/>
      <dgm:t>
        <a:bodyPr/>
        <a:lstStyle/>
        <a:p>
          <a:endParaRPr lang="de-DE"/>
        </a:p>
      </dgm:t>
    </dgm:pt>
    <dgm:pt modelId="{EBAD7093-5646-6644-A313-BDE9E4E20405}" type="pres">
      <dgm:prSet presAssocID="{29C25600-4843-1C4B-AFDC-7B32D485603C}" presName="childShape" presStyleCnt="0"/>
      <dgm:spPr/>
    </dgm:pt>
    <dgm:pt modelId="{D89ACACD-5BE9-6F45-AD77-7A31851FB30F}" type="pres">
      <dgm:prSet presAssocID="{8613533B-0EAB-244E-AE11-E11EAC5FF303}" presName="Name13" presStyleLbl="parChTrans1D2" presStyleIdx="13" presStyleCnt="18"/>
      <dgm:spPr/>
      <dgm:t>
        <a:bodyPr/>
        <a:lstStyle/>
        <a:p>
          <a:endParaRPr lang="de-DE"/>
        </a:p>
      </dgm:t>
    </dgm:pt>
    <dgm:pt modelId="{DC78A672-AF72-E243-A1E9-8AE350252DD8}" type="pres">
      <dgm:prSet presAssocID="{D766EEB1-12A8-264C-8389-DBCE06C9A8F1}" presName="childText" presStyleLbl="bgAcc1" presStyleIdx="13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5E2F62F-9FE8-314F-BB74-016A1BB69577}" type="pres">
      <dgm:prSet presAssocID="{81FE36C9-C90A-5E4F-8CDD-F52E8A000CA9}" presName="Name13" presStyleLbl="parChTrans1D2" presStyleIdx="14" presStyleCnt="18"/>
      <dgm:spPr/>
      <dgm:t>
        <a:bodyPr/>
        <a:lstStyle/>
        <a:p>
          <a:endParaRPr lang="de-DE"/>
        </a:p>
      </dgm:t>
    </dgm:pt>
    <dgm:pt modelId="{FDFA317C-7C20-EB4E-998C-82D08F6FF808}" type="pres">
      <dgm:prSet presAssocID="{712BB5D9-3FF3-F349-8F3F-201375F887D4}" presName="childText" presStyleLbl="bgAcc1" presStyleIdx="14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4DF4A18-5A7F-6A48-838F-20DCD53A5BA3}" type="pres">
      <dgm:prSet presAssocID="{670F812B-E6EA-C847-81C4-0F610FFD9499}" presName="root" presStyleCnt="0"/>
      <dgm:spPr/>
    </dgm:pt>
    <dgm:pt modelId="{E1D7DDA8-760C-6C43-9B94-AD6ABEB09D25}" type="pres">
      <dgm:prSet presAssocID="{670F812B-E6EA-C847-81C4-0F610FFD9499}" presName="rootComposite" presStyleCnt="0"/>
      <dgm:spPr/>
    </dgm:pt>
    <dgm:pt modelId="{AA651E7D-2CE3-EA48-ADBF-3FC37E9106E9}" type="pres">
      <dgm:prSet presAssocID="{670F812B-E6EA-C847-81C4-0F610FFD9499}" presName="rootText" presStyleLbl="node1" presStyleIdx="5" presStyleCnt="6"/>
      <dgm:spPr/>
      <dgm:t>
        <a:bodyPr/>
        <a:lstStyle/>
        <a:p>
          <a:endParaRPr lang="de-DE"/>
        </a:p>
      </dgm:t>
    </dgm:pt>
    <dgm:pt modelId="{197623DA-7E1A-AD40-BAC8-E6E637253DA1}" type="pres">
      <dgm:prSet presAssocID="{670F812B-E6EA-C847-81C4-0F610FFD9499}" presName="rootConnector" presStyleLbl="node1" presStyleIdx="5" presStyleCnt="6"/>
      <dgm:spPr/>
      <dgm:t>
        <a:bodyPr/>
        <a:lstStyle/>
        <a:p>
          <a:endParaRPr lang="de-DE"/>
        </a:p>
      </dgm:t>
    </dgm:pt>
    <dgm:pt modelId="{AE8940AB-E007-314B-ACF3-7E366F7FB060}" type="pres">
      <dgm:prSet presAssocID="{670F812B-E6EA-C847-81C4-0F610FFD9499}" presName="childShape" presStyleCnt="0"/>
      <dgm:spPr/>
    </dgm:pt>
    <dgm:pt modelId="{91EF8BD4-94CC-D946-B188-E6668A44D9AA}" type="pres">
      <dgm:prSet presAssocID="{A4F6FFF9-2079-7349-868D-AF325CD4FC8F}" presName="Name13" presStyleLbl="parChTrans1D2" presStyleIdx="15" presStyleCnt="18"/>
      <dgm:spPr/>
      <dgm:t>
        <a:bodyPr/>
        <a:lstStyle/>
        <a:p>
          <a:endParaRPr lang="de-DE"/>
        </a:p>
      </dgm:t>
    </dgm:pt>
    <dgm:pt modelId="{D921EFED-E196-4E49-9CA1-E0DC5C5728BF}" type="pres">
      <dgm:prSet presAssocID="{AEF619D3-D242-CA4F-9971-AE8A1197B1E7}" presName="childText" presStyleLbl="bgAcc1" presStyleIdx="15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DF9A69E-4378-0C4D-85C0-D9EC50239B96}" type="pres">
      <dgm:prSet presAssocID="{5CF9270A-72FD-4042-8E3B-9388C195C75F}" presName="Name13" presStyleLbl="parChTrans1D2" presStyleIdx="16" presStyleCnt="18"/>
      <dgm:spPr/>
      <dgm:t>
        <a:bodyPr/>
        <a:lstStyle/>
        <a:p>
          <a:endParaRPr lang="de-DE"/>
        </a:p>
      </dgm:t>
    </dgm:pt>
    <dgm:pt modelId="{E9E1DC85-619B-8745-99FA-2F3691EB5E04}" type="pres">
      <dgm:prSet presAssocID="{9351739C-7505-7944-8757-F2C989F03EA9}" presName="childText" presStyleLbl="bgAcc1" presStyleIdx="16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FBADA69-1D84-6C4B-B6B6-9ACF160C3973}" type="pres">
      <dgm:prSet presAssocID="{A6AB9058-F4F6-0F46-92C4-451637659D00}" presName="Name13" presStyleLbl="parChTrans1D2" presStyleIdx="17" presStyleCnt="18"/>
      <dgm:spPr/>
      <dgm:t>
        <a:bodyPr/>
        <a:lstStyle/>
        <a:p>
          <a:endParaRPr lang="de-DE"/>
        </a:p>
      </dgm:t>
    </dgm:pt>
    <dgm:pt modelId="{A4172400-F687-414B-9AC5-33DD2C2CFAE3}" type="pres">
      <dgm:prSet presAssocID="{2006CE84-2B9D-8543-9538-BC7F6A86C262}" presName="childText" presStyleLbl="bgAcc1" presStyleIdx="17" presStyleCnt="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5EF61D80-C2FE-B249-9EDF-B715FA35C431}" srcId="{92E56F4C-8F8B-2744-ABF4-7F423C2B0453}" destId="{1C5688DD-E143-F849-9454-0ADE20C9EBA6}" srcOrd="0" destOrd="0" parTransId="{977A6A4B-5AAF-904F-9FA6-DD819B5C9481}" sibTransId="{5EF855F8-8FB1-064F-AC6D-9CC28F7A55AD}"/>
    <dgm:cxn modelId="{686A49B9-44A5-2347-BF7D-D88435DFA74D}" type="presOf" srcId="{914BB45A-28E4-1846-930F-0BAEA8B461D9}" destId="{81E54D32-2A1C-974D-B519-119440DD7B0F}" srcOrd="1" destOrd="0" presId="urn:microsoft.com/office/officeart/2005/8/layout/hierarchy3"/>
    <dgm:cxn modelId="{810C11FC-2B7B-324B-8278-CD989E77141E}" srcId="{29C25600-4843-1C4B-AFDC-7B32D485603C}" destId="{712BB5D9-3FF3-F349-8F3F-201375F887D4}" srcOrd="1" destOrd="0" parTransId="{81FE36C9-C90A-5E4F-8CDD-F52E8A000CA9}" sibTransId="{80659B7B-A854-AC4A-8A92-D10C5AEDD3FB}"/>
    <dgm:cxn modelId="{1F0A30D8-5255-D541-BD2A-19B1B3212AB0}" type="presOf" srcId="{FD4C3210-A752-A54F-9D27-3885CCFB7C72}" destId="{714B68B3-FBBA-384A-AF82-B9BFEE9D9052}" srcOrd="0" destOrd="0" presId="urn:microsoft.com/office/officeart/2005/8/layout/hierarchy3"/>
    <dgm:cxn modelId="{5A877443-7815-5E42-A0C7-E0A44EF69CC9}" srcId="{914BB45A-28E4-1846-930F-0BAEA8B461D9}" destId="{59AC7D64-A7EA-8249-8DBD-92E1099C3592}" srcOrd="0" destOrd="0" parTransId="{8F562388-50C1-1648-8795-B5B33CE1AC88}" sibTransId="{921690D4-0B1F-2146-ACA8-3437C1FD8D71}"/>
    <dgm:cxn modelId="{74320143-5381-9C4D-BF81-FA545B22F2CD}" srcId="{16183EDC-81C5-A748-ADD9-26778811C64E}" destId="{914BB45A-28E4-1846-930F-0BAEA8B461D9}" srcOrd="3" destOrd="0" parTransId="{E50011DB-BD26-0D4E-A418-F9F8BCE966EC}" sibTransId="{2A8611E3-50B8-4A4C-9425-6EADCE936763}"/>
    <dgm:cxn modelId="{C4DB12AA-AE6E-514A-9901-413101BF5BF9}" type="presOf" srcId="{031BAFB7-6219-FF4A-9649-CCFA16BEF255}" destId="{D048CD21-176C-DF4A-83BA-88473161EA9B}" srcOrd="0" destOrd="0" presId="urn:microsoft.com/office/officeart/2005/8/layout/hierarchy3"/>
    <dgm:cxn modelId="{03283267-3A31-D349-92CC-E2CD297BE59E}" type="presOf" srcId="{FC8DAB96-C132-5346-B906-6BDE1C9173C6}" destId="{926DD9CE-4CEA-434D-9A8A-64A1E56B0E09}" srcOrd="0" destOrd="0" presId="urn:microsoft.com/office/officeart/2005/8/layout/hierarchy3"/>
    <dgm:cxn modelId="{2F725C2E-4DE1-B644-AEB9-E45A92CB8A17}" type="presOf" srcId="{92E56F4C-8F8B-2744-ABF4-7F423C2B0453}" destId="{4F684EEA-6E8F-CC48-8C9C-5D312C1168D0}" srcOrd="1" destOrd="0" presId="urn:microsoft.com/office/officeart/2005/8/layout/hierarchy3"/>
    <dgm:cxn modelId="{C85EF378-09B5-1844-AF34-78A5ACC47D79}" srcId="{92E56F4C-8F8B-2744-ABF4-7F423C2B0453}" destId="{CDD39F69-1CAE-684A-997A-C0CC62A3DDA0}" srcOrd="1" destOrd="0" parTransId="{BDFE89C1-BF6D-CE4E-8F19-7BDFC69EB494}" sibTransId="{35FC6566-FCC3-F744-97BD-A1EFF587AD5E}"/>
    <dgm:cxn modelId="{2F41C9B5-4018-8A4B-B064-843D7EAD358F}" srcId="{16183EDC-81C5-A748-ADD9-26778811C64E}" destId="{92E56F4C-8F8B-2744-ABF4-7F423C2B0453}" srcOrd="1" destOrd="0" parTransId="{B4993311-0662-B64A-9A8D-9F204964F57B}" sibTransId="{5CA4B943-A8C3-5243-838D-25F914FCC2AE}"/>
    <dgm:cxn modelId="{6BEB3FDE-1879-C84E-B06A-07AD5EC4A7F1}" type="presOf" srcId="{1C5688DD-E143-F849-9454-0ADE20C9EBA6}" destId="{C1A27AEF-5433-4846-8559-C636B5DE159F}" srcOrd="0" destOrd="0" presId="urn:microsoft.com/office/officeart/2005/8/layout/hierarchy3"/>
    <dgm:cxn modelId="{A03F796B-079C-5044-8717-B34E4B98F9E5}" srcId="{29C25600-4843-1C4B-AFDC-7B32D485603C}" destId="{D766EEB1-12A8-264C-8389-DBCE06C9A8F1}" srcOrd="0" destOrd="0" parTransId="{8613533B-0EAB-244E-AE11-E11EAC5FF303}" sibTransId="{3FA9DF0B-9E08-D045-BF78-C1F45BADB302}"/>
    <dgm:cxn modelId="{C7988F99-05C2-044B-8EA0-F817870E2AD6}" srcId="{66789DCC-AB29-EB4E-9966-4BAE8FA4F977}" destId="{6A644D1A-35C3-3041-805B-1C46C3FDFC45}" srcOrd="2" destOrd="0" parTransId="{5F426DC0-2828-854D-AF6F-3A351F7195FF}" sibTransId="{DA6EF46C-CBEE-B643-872E-B523659ABE64}"/>
    <dgm:cxn modelId="{0328E5C3-8531-3547-81A2-F34721C70B71}" type="presOf" srcId="{2BB1A46E-E7A0-324E-A148-0689DD215505}" destId="{F5CDB006-D571-954D-94CE-8F49ED6A33B8}" srcOrd="0" destOrd="0" presId="urn:microsoft.com/office/officeart/2005/8/layout/hierarchy3"/>
    <dgm:cxn modelId="{E879DB6A-93FD-B342-A580-40CA8B96183F}" srcId="{92E56F4C-8F8B-2744-ABF4-7F423C2B0453}" destId="{6D4B6042-9360-D846-97E5-DC28FAA5300B}" srcOrd="2" destOrd="0" parTransId="{68037816-6AE7-2E48-9F2E-3620039D8790}" sibTransId="{EFED4ACB-DB13-F44E-81CC-71BC3094D60C}"/>
    <dgm:cxn modelId="{0525977A-6C36-4949-9199-C85332C71D4D}" type="presOf" srcId="{9351739C-7505-7944-8757-F2C989F03EA9}" destId="{E9E1DC85-619B-8745-99FA-2F3691EB5E04}" srcOrd="0" destOrd="0" presId="urn:microsoft.com/office/officeart/2005/8/layout/hierarchy3"/>
    <dgm:cxn modelId="{A46788BC-2855-9740-B477-17E08CC21798}" type="presOf" srcId="{81FE36C9-C90A-5E4F-8CDD-F52E8A000CA9}" destId="{25E2F62F-9FE8-314F-BB74-016A1BB69577}" srcOrd="0" destOrd="0" presId="urn:microsoft.com/office/officeart/2005/8/layout/hierarchy3"/>
    <dgm:cxn modelId="{C0E21AB1-74F7-354B-B026-17AA279C2A3F}" type="presOf" srcId="{06F18CA5-EB8B-4848-84D9-5ED9681D9649}" destId="{EAEB3239-12B5-7B4C-B750-BF9EC1E08392}" srcOrd="0" destOrd="0" presId="urn:microsoft.com/office/officeart/2005/8/layout/hierarchy3"/>
    <dgm:cxn modelId="{E09F64A8-6340-6B44-98BC-369E721152C8}" srcId="{66789DCC-AB29-EB4E-9966-4BAE8FA4F977}" destId="{C1AB657C-009F-C043-AE27-502FFC2E6E5B}" srcOrd="0" destOrd="0" parTransId="{2BB1A46E-E7A0-324E-A148-0689DD215505}" sibTransId="{9F5250CF-5E19-064D-B744-0DE4874A3730}"/>
    <dgm:cxn modelId="{919C4F60-C144-BA43-853A-B92AEBAA422C}" srcId="{670F812B-E6EA-C847-81C4-0F610FFD9499}" destId="{9351739C-7505-7944-8757-F2C989F03EA9}" srcOrd="1" destOrd="0" parTransId="{5CF9270A-72FD-4042-8E3B-9388C195C75F}" sibTransId="{0A2F1369-36BA-FD44-A3B5-52460F22A6D7}"/>
    <dgm:cxn modelId="{4ED20D00-FA3D-0C4B-BCCF-D9D4A1377AF0}" type="presOf" srcId="{5CF9270A-72FD-4042-8E3B-9388C195C75F}" destId="{4DF9A69E-4378-0C4D-85C0-D9EC50239B96}" srcOrd="0" destOrd="0" presId="urn:microsoft.com/office/officeart/2005/8/layout/hierarchy3"/>
    <dgm:cxn modelId="{6ACBB8C1-E590-F34B-8F16-E36DBA7B8623}" type="presOf" srcId="{670F812B-E6EA-C847-81C4-0F610FFD9499}" destId="{AA651E7D-2CE3-EA48-ADBF-3FC37E9106E9}" srcOrd="0" destOrd="0" presId="urn:microsoft.com/office/officeart/2005/8/layout/hierarchy3"/>
    <dgm:cxn modelId="{05D09F0C-93FD-D94A-B9E4-3385EE9C43FC}" srcId="{670F812B-E6EA-C847-81C4-0F610FFD9499}" destId="{2006CE84-2B9D-8543-9538-BC7F6A86C262}" srcOrd="2" destOrd="0" parTransId="{A6AB9058-F4F6-0F46-92C4-451637659D00}" sibTransId="{B74ECC3D-3DE1-C84A-9F1B-4417A92A08C5}"/>
    <dgm:cxn modelId="{4D3FD78C-C87C-1D48-9FE7-9A27C5C16ED9}" type="presOf" srcId="{29C25600-4843-1C4B-AFDC-7B32D485603C}" destId="{89C41EA6-ABFD-C642-B50C-475EA919784F}" srcOrd="0" destOrd="0" presId="urn:microsoft.com/office/officeart/2005/8/layout/hierarchy3"/>
    <dgm:cxn modelId="{2E7C918B-A23A-724C-8EEB-E8CCE52814FE}" type="presOf" srcId="{66789DCC-AB29-EB4E-9966-4BAE8FA4F977}" destId="{BEB6C038-BCB6-6341-BCE4-2F421AB6D901}" srcOrd="0" destOrd="0" presId="urn:microsoft.com/office/officeart/2005/8/layout/hierarchy3"/>
    <dgm:cxn modelId="{8BA90A83-9A5D-AB4D-A5DC-83598EE3BA0C}" type="presOf" srcId="{D766EEB1-12A8-264C-8389-DBCE06C9A8F1}" destId="{DC78A672-AF72-E243-A1E9-8AE350252DD8}" srcOrd="0" destOrd="0" presId="urn:microsoft.com/office/officeart/2005/8/layout/hierarchy3"/>
    <dgm:cxn modelId="{F1DEE925-6A76-4E45-BADF-5A9ACD50D92F}" srcId="{670F812B-E6EA-C847-81C4-0F610FFD9499}" destId="{AEF619D3-D242-CA4F-9971-AE8A1197B1E7}" srcOrd="0" destOrd="0" parTransId="{A4F6FFF9-2079-7349-868D-AF325CD4FC8F}" sibTransId="{07353784-B007-B64D-8E08-B016213BB633}"/>
    <dgm:cxn modelId="{BAFC5491-04AE-2D4F-8A9B-E78C7CB7B5B3}" type="presOf" srcId="{C1AB657C-009F-C043-AE27-502FFC2E6E5B}" destId="{3DC6859C-B874-DC44-A7E1-51E9A88147E5}" srcOrd="0" destOrd="0" presId="urn:microsoft.com/office/officeart/2005/8/layout/hierarchy3"/>
    <dgm:cxn modelId="{E8041475-6977-664C-8601-8716C4ED44D5}" type="presOf" srcId="{977A6A4B-5AAF-904F-9FA6-DD819B5C9481}" destId="{CC4895DA-7F1D-E143-8072-852349EB24A4}" srcOrd="0" destOrd="0" presId="urn:microsoft.com/office/officeart/2005/8/layout/hierarchy3"/>
    <dgm:cxn modelId="{1ECD6861-6F57-4B43-BF97-DA68BE8C81D7}" type="presOf" srcId="{96569664-423E-BC45-A7CD-D7B3E24D001C}" destId="{E4E50D14-47B6-DE46-8C17-B07DD67DF376}" srcOrd="1" destOrd="0" presId="urn:microsoft.com/office/officeart/2005/8/layout/hierarchy3"/>
    <dgm:cxn modelId="{20D82F37-1779-1444-950D-4FB3FD73936F}" srcId="{16183EDC-81C5-A748-ADD9-26778811C64E}" destId="{670F812B-E6EA-C847-81C4-0F610FFD9499}" srcOrd="5" destOrd="0" parTransId="{9F43808D-ABC7-604B-90EE-34912B4C395C}" sibTransId="{60373DD5-2C7D-F54B-8595-2F82EB6EBFEC}"/>
    <dgm:cxn modelId="{AC3099B3-6759-8C4C-9B7F-B99AE7022531}" type="presOf" srcId="{914BB45A-28E4-1846-930F-0BAEA8B461D9}" destId="{C6A95AB0-3CDD-6B4F-9A50-83AAFF7EAE71}" srcOrd="0" destOrd="0" presId="urn:microsoft.com/office/officeart/2005/8/layout/hierarchy3"/>
    <dgm:cxn modelId="{27B8A2A7-019F-2240-95F5-DD4EDAD99C2D}" type="presOf" srcId="{712BB5D9-3FF3-F349-8F3F-201375F887D4}" destId="{FDFA317C-7C20-EB4E-998C-82D08F6FF808}" srcOrd="0" destOrd="0" presId="urn:microsoft.com/office/officeart/2005/8/layout/hierarchy3"/>
    <dgm:cxn modelId="{9E3A19ED-1E61-A346-868B-6A46FE270E19}" type="presOf" srcId="{59AC7D64-A7EA-8249-8DBD-92E1099C3592}" destId="{DD094C76-1F3F-3F47-9081-7B6C354A95CE}" srcOrd="0" destOrd="0" presId="urn:microsoft.com/office/officeart/2005/8/layout/hierarchy3"/>
    <dgm:cxn modelId="{4F632BD0-20C4-9A46-A05C-2F5E68A55C3A}" type="presOf" srcId="{99E9E2E0-C657-D746-9A3F-C1AE59957846}" destId="{A235B0B9-B30C-D249-A3A1-E96A85B6091D}" srcOrd="0" destOrd="0" presId="urn:microsoft.com/office/officeart/2005/8/layout/hierarchy3"/>
    <dgm:cxn modelId="{43DA309E-568C-C949-AE59-36B8572D8A59}" type="presOf" srcId="{8613533B-0EAB-244E-AE11-E11EAC5FF303}" destId="{D89ACACD-5BE9-6F45-AD77-7A31851FB30F}" srcOrd="0" destOrd="0" presId="urn:microsoft.com/office/officeart/2005/8/layout/hierarchy3"/>
    <dgm:cxn modelId="{16EF460B-1785-E247-A88D-FDC78BD61384}" srcId="{96569664-423E-BC45-A7CD-D7B3E24D001C}" destId="{774925EC-90A8-AA4C-8990-AB0CDC328DED}" srcOrd="2" destOrd="0" parTransId="{99E9E2E0-C657-D746-9A3F-C1AE59957846}" sibTransId="{B341428B-861C-8E4A-9D29-1318F5B52C4C}"/>
    <dgm:cxn modelId="{55B360B5-AB09-4942-9AB8-47E280D7757C}" type="presOf" srcId="{29C25600-4843-1C4B-AFDC-7B32D485603C}" destId="{219AB183-8D6E-714C-8598-60824B0DB551}" srcOrd="1" destOrd="0" presId="urn:microsoft.com/office/officeart/2005/8/layout/hierarchy3"/>
    <dgm:cxn modelId="{FB777002-677E-3C44-A059-CD673C805B27}" srcId="{914BB45A-28E4-1846-930F-0BAEA8B461D9}" destId="{1A9FC957-DC59-9E48-9B16-B723C5C03D9F}" srcOrd="1" destOrd="0" parTransId="{06F18CA5-EB8B-4848-84D9-5ED9681D9649}" sibTransId="{3A663885-4A8C-374F-B4FA-56D9DD0994E6}"/>
    <dgm:cxn modelId="{B1BABC1E-BF97-1946-9DEF-A5988FE1FB18}" type="presOf" srcId="{5F426DC0-2828-854D-AF6F-3A351F7195FF}" destId="{97F2F591-6950-2A41-BEC8-46682B9070FE}" srcOrd="0" destOrd="0" presId="urn:microsoft.com/office/officeart/2005/8/layout/hierarchy3"/>
    <dgm:cxn modelId="{930F4042-32C6-0D4C-BD15-A5B76AB868D7}" type="presOf" srcId="{8F562388-50C1-1648-8795-B5B33CE1AC88}" destId="{C0FC3D16-0144-0843-9593-11C84C5BF610}" srcOrd="0" destOrd="0" presId="urn:microsoft.com/office/officeart/2005/8/layout/hierarchy3"/>
    <dgm:cxn modelId="{EEBC2C4F-1C53-A24E-BE28-354C2151B3EE}" type="presOf" srcId="{1A9FC957-DC59-9E48-9B16-B723C5C03D9F}" destId="{74A8D3CC-B269-634B-AB55-57B6B948B3BB}" srcOrd="0" destOrd="0" presId="urn:microsoft.com/office/officeart/2005/8/layout/hierarchy3"/>
    <dgm:cxn modelId="{0F2E4AFD-AFBA-B546-9E3F-BC26B44EE046}" type="presOf" srcId="{BDFE89C1-BF6D-CE4E-8F19-7BDFC69EB494}" destId="{26818698-3528-C147-8F2E-68B7A1301A74}" srcOrd="0" destOrd="0" presId="urn:microsoft.com/office/officeart/2005/8/layout/hierarchy3"/>
    <dgm:cxn modelId="{6702F20D-C50E-294E-AD37-FE58ECAA1907}" type="presOf" srcId="{670F812B-E6EA-C847-81C4-0F610FFD9499}" destId="{197623DA-7E1A-AD40-BAC8-E6E637253DA1}" srcOrd="1" destOrd="0" presId="urn:microsoft.com/office/officeart/2005/8/layout/hierarchy3"/>
    <dgm:cxn modelId="{E94B21FE-6A45-A640-951F-8A1B8D629DFA}" srcId="{96569664-423E-BC45-A7CD-D7B3E24D001C}" destId="{DF3FF052-E586-0946-A6CC-AF53EA088B36}" srcOrd="0" destOrd="0" parTransId="{031BAFB7-6219-FF4A-9649-CCFA16BEF255}" sibTransId="{393BFF83-80ED-EF4E-B5A5-8325F20C0AEC}"/>
    <dgm:cxn modelId="{7B93AE69-7533-8F45-A465-A9C5A6F8252A}" type="presOf" srcId="{774925EC-90A8-AA4C-8990-AB0CDC328DED}" destId="{B6257C21-35A0-F34D-86F2-C33829C8B6F6}" srcOrd="0" destOrd="0" presId="urn:microsoft.com/office/officeart/2005/8/layout/hierarchy3"/>
    <dgm:cxn modelId="{52512161-AFB6-B940-AE1B-57792EDF7AAE}" type="presOf" srcId="{AEF619D3-D242-CA4F-9971-AE8A1197B1E7}" destId="{D921EFED-E196-4E49-9CA1-E0DC5C5728BF}" srcOrd="0" destOrd="0" presId="urn:microsoft.com/office/officeart/2005/8/layout/hierarchy3"/>
    <dgm:cxn modelId="{380CBE53-6FFF-6A49-B054-CC16A5FDE51E}" type="presOf" srcId="{16183EDC-81C5-A748-ADD9-26778811C64E}" destId="{631C176D-4C7D-754A-9089-38EEDB90C87D}" srcOrd="0" destOrd="0" presId="urn:microsoft.com/office/officeart/2005/8/layout/hierarchy3"/>
    <dgm:cxn modelId="{A06304A8-5AB0-A445-BC5F-D19C36FDE778}" type="presOf" srcId="{66789DCC-AB29-EB4E-9966-4BAE8FA4F977}" destId="{88043617-8701-BC44-A0D8-3BFCAAE62A4C}" srcOrd="1" destOrd="0" presId="urn:microsoft.com/office/officeart/2005/8/layout/hierarchy3"/>
    <dgm:cxn modelId="{CAB1483D-4F2D-A14D-A688-48E9D4C78F80}" type="presOf" srcId="{FF60EAFB-552E-8D46-B4DE-73F567294BD3}" destId="{CCA42568-3465-5B43-96E8-AAFAA149BD9B}" srcOrd="0" destOrd="0" presId="urn:microsoft.com/office/officeart/2005/8/layout/hierarchy3"/>
    <dgm:cxn modelId="{98033BC5-BDA5-6E4F-9F64-AE6147B9DD59}" type="presOf" srcId="{A4F6FFF9-2079-7349-868D-AF325CD4FC8F}" destId="{91EF8BD4-94CC-D946-B188-E6668A44D9AA}" srcOrd="0" destOrd="0" presId="urn:microsoft.com/office/officeart/2005/8/layout/hierarchy3"/>
    <dgm:cxn modelId="{FA3E7D34-E104-7F4F-AEAA-2515EC7FD7B3}" type="presOf" srcId="{7AD60C2E-CFF6-EF43-B34C-8D599C77C3ED}" destId="{4A0AB8A5-0988-CE43-89AA-DEEE97DEDD17}" srcOrd="0" destOrd="0" presId="urn:microsoft.com/office/officeart/2005/8/layout/hierarchy3"/>
    <dgm:cxn modelId="{46ED0611-DDAC-9242-9E02-A5C25FF49840}" type="presOf" srcId="{CDD39F69-1CAE-684A-997A-C0CC62A3DDA0}" destId="{AB5B08C6-59FE-FC45-AE74-543A81103A60}" srcOrd="0" destOrd="0" presId="urn:microsoft.com/office/officeart/2005/8/layout/hierarchy3"/>
    <dgm:cxn modelId="{3FFCDEDE-C809-D145-9FF5-6B42B18ECA54}" srcId="{16183EDC-81C5-A748-ADD9-26778811C64E}" destId="{96569664-423E-BC45-A7CD-D7B3E24D001C}" srcOrd="2" destOrd="0" parTransId="{3022575A-E7F3-2E4D-838D-37F573387F15}" sibTransId="{DA630FFB-16F8-7F4A-B1C7-0BC68C02E1CD}"/>
    <dgm:cxn modelId="{FEEF2858-6712-1949-9296-66A6BC2778F9}" type="presOf" srcId="{68037816-6AE7-2E48-9F2E-3620039D8790}" destId="{4DB96CAD-2534-FE48-AC39-0BC7805CB8AA}" srcOrd="0" destOrd="0" presId="urn:microsoft.com/office/officeart/2005/8/layout/hierarchy3"/>
    <dgm:cxn modelId="{D53CEA0F-53A1-674C-ACAA-67F4D7FBFD76}" type="presOf" srcId="{96569664-423E-BC45-A7CD-D7B3E24D001C}" destId="{73723C24-A949-CE44-8C5D-661F69F4B72F}" srcOrd="0" destOrd="0" presId="urn:microsoft.com/office/officeart/2005/8/layout/hierarchy3"/>
    <dgm:cxn modelId="{FDEC375F-3ED8-6F43-9300-F0A4C85F1B93}" srcId="{16183EDC-81C5-A748-ADD9-26778811C64E}" destId="{29C25600-4843-1C4B-AFDC-7B32D485603C}" srcOrd="4" destOrd="0" parTransId="{C1E36492-F5EF-5A44-99A7-D28396CB64AE}" sibTransId="{2A3008F3-0B17-5C4C-86F7-7A96AACFC7B2}"/>
    <dgm:cxn modelId="{7928D29B-BB3D-C040-AFFA-2503E835DF00}" type="presOf" srcId="{A6AB9058-F4F6-0F46-92C4-451637659D00}" destId="{6FBADA69-1D84-6C4B-B6B6-9ACF160C3973}" srcOrd="0" destOrd="0" presId="urn:microsoft.com/office/officeart/2005/8/layout/hierarchy3"/>
    <dgm:cxn modelId="{D817DAEE-C329-284E-ACBC-F6ABE09F8B26}" type="presOf" srcId="{6997E0AA-4214-1640-8010-87FA5B4F9593}" destId="{330CA7E5-7CD8-ED4E-9647-624109263B25}" srcOrd="0" destOrd="0" presId="urn:microsoft.com/office/officeart/2005/8/layout/hierarchy3"/>
    <dgm:cxn modelId="{61B151C4-0AB7-B04F-93C2-AD97D60EBBC7}" type="presOf" srcId="{442DFDF3-4FCB-D54F-9750-8FC02AEE2548}" destId="{AB6424F3-19D2-B543-963D-662FE6E95D87}" srcOrd="0" destOrd="0" presId="urn:microsoft.com/office/officeart/2005/8/layout/hierarchy3"/>
    <dgm:cxn modelId="{0BF70ACF-2B13-2D4D-815E-22423A19B6EF}" type="presOf" srcId="{6D4B6042-9360-D846-97E5-DC28FAA5300B}" destId="{B8948FDF-3F85-A445-9B2F-1087760FF668}" srcOrd="0" destOrd="0" presId="urn:microsoft.com/office/officeart/2005/8/layout/hierarchy3"/>
    <dgm:cxn modelId="{C74A3E9F-369C-6E4F-82DB-CDB8953B7328}" type="presOf" srcId="{92E56F4C-8F8B-2744-ABF4-7F423C2B0453}" destId="{78291BD7-8A7A-D24D-88F3-60175C1A7DC1}" srcOrd="0" destOrd="0" presId="urn:microsoft.com/office/officeart/2005/8/layout/hierarchy3"/>
    <dgm:cxn modelId="{66F8F9F6-710E-5142-86E7-0983ED126F26}" srcId="{16183EDC-81C5-A748-ADD9-26778811C64E}" destId="{66789DCC-AB29-EB4E-9966-4BAE8FA4F977}" srcOrd="0" destOrd="0" parTransId="{8CB7409A-C06A-724C-BCEA-D32E952636A2}" sibTransId="{9238850E-2FB4-9843-A984-6086E20CBB19}"/>
    <dgm:cxn modelId="{8CF222D2-BB18-D249-9770-068AB48C548A}" type="presOf" srcId="{8068FE50-D31B-E54E-BB77-90BBCFD8E454}" destId="{9EC1B288-1C1A-BF4D-81DF-70A7F5CF0860}" srcOrd="0" destOrd="0" presId="urn:microsoft.com/office/officeart/2005/8/layout/hierarchy3"/>
    <dgm:cxn modelId="{E5A9790E-8C26-504F-B477-769941646CB4}" srcId="{66789DCC-AB29-EB4E-9966-4BAE8FA4F977}" destId="{8068FE50-D31B-E54E-BB77-90BBCFD8E454}" srcOrd="1" destOrd="0" parTransId="{FD4C3210-A752-A54F-9D27-3885CCFB7C72}" sibTransId="{AD5B8DA4-AE3D-E44D-823D-041124E7EBF2}"/>
    <dgm:cxn modelId="{46EEF5A4-6B38-584D-AB2B-1741FF5DB859}" srcId="{914BB45A-28E4-1846-930F-0BAEA8B461D9}" destId="{FF60EAFB-552E-8D46-B4DE-73F567294BD3}" srcOrd="2" destOrd="0" parTransId="{442DFDF3-4FCB-D54F-9750-8FC02AEE2548}" sibTransId="{3EA4DB36-BE03-8344-AFAC-46D9B34E4C93}"/>
    <dgm:cxn modelId="{217A5EA3-6566-3C4A-ADDF-8A2B1753CDB6}" type="presOf" srcId="{3FE0AA38-CF63-774D-AE03-D0E6E6C3CEBB}" destId="{B01B69BF-0024-6246-AA85-3D3C61D31FDA}" srcOrd="0" destOrd="0" presId="urn:microsoft.com/office/officeart/2005/8/layout/hierarchy3"/>
    <dgm:cxn modelId="{87679524-DFBA-6647-AD13-0AA8492EE2A4}" type="presOf" srcId="{DF3FF052-E586-0946-A6CC-AF53EA088B36}" destId="{E3F0866D-7DB0-BD45-9FB6-118339B5A499}" srcOrd="0" destOrd="0" presId="urn:microsoft.com/office/officeart/2005/8/layout/hierarchy3"/>
    <dgm:cxn modelId="{421F5986-9EF7-B242-99C1-3B624B4FB0FB}" type="presOf" srcId="{2006CE84-2B9D-8543-9538-BC7F6A86C262}" destId="{A4172400-F687-414B-9AC5-33DD2C2CFAE3}" srcOrd="0" destOrd="0" presId="urn:microsoft.com/office/officeart/2005/8/layout/hierarchy3"/>
    <dgm:cxn modelId="{7E3CE1E2-A0B6-F042-BCAE-EA2FF95592E1}" srcId="{92E56F4C-8F8B-2744-ABF4-7F423C2B0453}" destId="{3FE0AA38-CF63-774D-AE03-D0E6E6C3CEBB}" srcOrd="3" destOrd="0" parTransId="{6997E0AA-4214-1640-8010-87FA5B4F9593}" sibTransId="{EABA367E-D15E-F740-8238-06FA12BA9C3D}"/>
    <dgm:cxn modelId="{39A88469-2577-AE46-BFD5-64375DF88431}" srcId="{96569664-423E-BC45-A7CD-D7B3E24D001C}" destId="{7AD60C2E-CFF6-EF43-B34C-8D599C77C3ED}" srcOrd="1" destOrd="0" parTransId="{FC8DAB96-C132-5346-B906-6BDE1C9173C6}" sibTransId="{99E9D391-8FAB-DC4F-8088-423688C924B4}"/>
    <dgm:cxn modelId="{5057991D-7CDB-9445-8EE2-FFF247FB8E05}" type="presOf" srcId="{6A644D1A-35C3-3041-805B-1C46C3FDFC45}" destId="{75DC598B-4859-6C42-8FAE-FC1454E10AD8}" srcOrd="0" destOrd="0" presId="urn:microsoft.com/office/officeart/2005/8/layout/hierarchy3"/>
    <dgm:cxn modelId="{034D30AE-37DD-5041-B6D3-664DC9966349}" type="presParOf" srcId="{631C176D-4C7D-754A-9089-38EEDB90C87D}" destId="{0FF08791-2742-834D-A289-2545EADE6C2B}" srcOrd="0" destOrd="0" presId="urn:microsoft.com/office/officeart/2005/8/layout/hierarchy3"/>
    <dgm:cxn modelId="{49B30C7C-7C91-624D-A689-416E29B7FA1C}" type="presParOf" srcId="{0FF08791-2742-834D-A289-2545EADE6C2B}" destId="{89F94376-DAB9-0C42-8165-FB57B34F9A41}" srcOrd="0" destOrd="0" presId="urn:microsoft.com/office/officeart/2005/8/layout/hierarchy3"/>
    <dgm:cxn modelId="{48CBE6A8-E0CF-0142-BCAA-B6810090F38B}" type="presParOf" srcId="{89F94376-DAB9-0C42-8165-FB57B34F9A41}" destId="{BEB6C038-BCB6-6341-BCE4-2F421AB6D901}" srcOrd="0" destOrd="0" presId="urn:microsoft.com/office/officeart/2005/8/layout/hierarchy3"/>
    <dgm:cxn modelId="{C5265CFF-1556-004C-B4A0-CFF326A3E1C6}" type="presParOf" srcId="{89F94376-DAB9-0C42-8165-FB57B34F9A41}" destId="{88043617-8701-BC44-A0D8-3BFCAAE62A4C}" srcOrd="1" destOrd="0" presId="urn:microsoft.com/office/officeart/2005/8/layout/hierarchy3"/>
    <dgm:cxn modelId="{9E4102B2-A25C-F24F-97F0-D2DA3822CF4A}" type="presParOf" srcId="{0FF08791-2742-834D-A289-2545EADE6C2B}" destId="{4E5566B1-A02D-E74A-AD2B-8B7CECA54605}" srcOrd="1" destOrd="0" presId="urn:microsoft.com/office/officeart/2005/8/layout/hierarchy3"/>
    <dgm:cxn modelId="{85CD8C03-9DC9-FE48-A9F5-433A4CD4B071}" type="presParOf" srcId="{4E5566B1-A02D-E74A-AD2B-8B7CECA54605}" destId="{F5CDB006-D571-954D-94CE-8F49ED6A33B8}" srcOrd="0" destOrd="0" presId="urn:microsoft.com/office/officeart/2005/8/layout/hierarchy3"/>
    <dgm:cxn modelId="{6D5A7EC7-F617-B042-AC05-DE30E94D589D}" type="presParOf" srcId="{4E5566B1-A02D-E74A-AD2B-8B7CECA54605}" destId="{3DC6859C-B874-DC44-A7E1-51E9A88147E5}" srcOrd="1" destOrd="0" presId="urn:microsoft.com/office/officeart/2005/8/layout/hierarchy3"/>
    <dgm:cxn modelId="{6183F482-65CC-4E40-88CE-6166BD9F9972}" type="presParOf" srcId="{4E5566B1-A02D-E74A-AD2B-8B7CECA54605}" destId="{714B68B3-FBBA-384A-AF82-B9BFEE9D9052}" srcOrd="2" destOrd="0" presId="urn:microsoft.com/office/officeart/2005/8/layout/hierarchy3"/>
    <dgm:cxn modelId="{AB8421CE-A237-0341-AA31-5F2EFBE57DE5}" type="presParOf" srcId="{4E5566B1-A02D-E74A-AD2B-8B7CECA54605}" destId="{9EC1B288-1C1A-BF4D-81DF-70A7F5CF0860}" srcOrd="3" destOrd="0" presId="urn:microsoft.com/office/officeart/2005/8/layout/hierarchy3"/>
    <dgm:cxn modelId="{952D29ED-4D23-324A-88FE-C754B7CC0814}" type="presParOf" srcId="{4E5566B1-A02D-E74A-AD2B-8B7CECA54605}" destId="{97F2F591-6950-2A41-BEC8-46682B9070FE}" srcOrd="4" destOrd="0" presId="urn:microsoft.com/office/officeart/2005/8/layout/hierarchy3"/>
    <dgm:cxn modelId="{B42A18DB-F6CE-1B4D-9771-B1108876FEFC}" type="presParOf" srcId="{4E5566B1-A02D-E74A-AD2B-8B7CECA54605}" destId="{75DC598B-4859-6C42-8FAE-FC1454E10AD8}" srcOrd="5" destOrd="0" presId="urn:microsoft.com/office/officeart/2005/8/layout/hierarchy3"/>
    <dgm:cxn modelId="{723D8B10-AD0E-D444-8CCF-AB78A706A62E}" type="presParOf" srcId="{631C176D-4C7D-754A-9089-38EEDB90C87D}" destId="{29BE269D-D7F8-5247-A3EE-41E55A513E58}" srcOrd="1" destOrd="0" presId="urn:microsoft.com/office/officeart/2005/8/layout/hierarchy3"/>
    <dgm:cxn modelId="{76BA0A6B-B33B-DC40-96E4-B9539382CFB8}" type="presParOf" srcId="{29BE269D-D7F8-5247-A3EE-41E55A513E58}" destId="{C37038DE-7D4A-B54C-93BB-FE5342C39837}" srcOrd="0" destOrd="0" presId="urn:microsoft.com/office/officeart/2005/8/layout/hierarchy3"/>
    <dgm:cxn modelId="{9E3B513B-21DF-7441-8CF3-BDD1937E2640}" type="presParOf" srcId="{C37038DE-7D4A-B54C-93BB-FE5342C39837}" destId="{78291BD7-8A7A-D24D-88F3-60175C1A7DC1}" srcOrd="0" destOrd="0" presId="urn:microsoft.com/office/officeart/2005/8/layout/hierarchy3"/>
    <dgm:cxn modelId="{CE3221D7-7A8B-3842-B118-E7D5F25A35C2}" type="presParOf" srcId="{C37038DE-7D4A-B54C-93BB-FE5342C39837}" destId="{4F684EEA-6E8F-CC48-8C9C-5D312C1168D0}" srcOrd="1" destOrd="0" presId="urn:microsoft.com/office/officeart/2005/8/layout/hierarchy3"/>
    <dgm:cxn modelId="{733A615E-810F-FC4D-AF7D-A00D440E0F79}" type="presParOf" srcId="{29BE269D-D7F8-5247-A3EE-41E55A513E58}" destId="{832F9293-314E-DD48-844C-CE35252C645F}" srcOrd="1" destOrd="0" presId="urn:microsoft.com/office/officeart/2005/8/layout/hierarchy3"/>
    <dgm:cxn modelId="{1483CA1D-5CD0-C247-9164-46BEE21B956D}" type="presParOf" srcId="{832F9293-314E-DD48-844C-CE35252C645F}" destId="{CC4895DA-7F1D-E143-8072-852349EB24A4}" srcOrd="0" destOrd="0" presId="urn:microsoft.com/office/officeart/2005/8/layout/hierarchy3"/>
    <dgm:cxn modelId="{909BC3C7-2D75-2647-806C-064BF8BC0E11}" type="presParOf" srcId="{832F9293-314E-DD48-844C-CE35252C645F}" destId="{C1A27AEF-5433-4846-8559-C636B5DE159F}" srcOrd="1" destOrd="0" presId="urn:microsoft.com/office/officeart/2005/8/layout/hierarchy3"/>
    <dgm:cxn modelId="{422833B8-76DF-3D40-BADB-FCD89444B0C6}" type="presParOf" srcId="{832F9293-314E-DD48-844C-CE35252C645F}" destId="{26818698-3528-C147-8F2E-68B7A1301A74}" srcOrd="2" destOrd="0" presId="urn:microsoft.com/office/officeart/2005/8/layout/hierarchy3"/>
    <dgm:cxn modelId="{D25CCE30-3670-C043-B4F3-22306EB3F4B4}" type="presParOf" srcId="{832F9293-314E-DD48-844C-CE35252C645F}" destId="{AB5B08C6-59FE-FC45-AE74-543A81103A60}" srcOrd="3" destOrd="0" presId="urn:microsoft.com/office/officeart/2005/8/layout/hierarchy3"/>
    <dgm:cxn modelId="{52B956B7-00CE-4D4B-B79E-645AA6F9A5A0}" type="presParOf" srcId="{832F9293-314E-DD48-844C-CE35252C645F}" destId="{4DB96CAD-2534-FE48-AC39-0BC7805CB8AA}" srcOrd="4" destOrd="0" presId="urn:microsoft.com/office/officeart/2005/8/layout/hierarchy3"/>
    <dgm:cxn modelId="{49D0AA3E-9B2A-7C43-ACB4-E32C86A8E06D}" type="presParOf" srcId="{832F9293-314E-DD48-844C-CE35252C645F}" destId="{B8948FDF-3F85-A445-9B2F-1087760FF668}" srcOrd="5" destOrd="0" presId="urn:microsoft.com/office/officeart/2005/8/layout/hierarchy3"/>
    <dgm:cxn modelId="{ECA93F08-25AA-B243-8402-A689BEE71285}" type="presParOf" srcId="{832F9293-314E-DD48-844C-CE35252C645F}" destId="{330CA7E5-7CD8-ED4E-9647-624109263B25}" srcOrd="6" destOrd="0" presId="urn:microsoft.com/office/officeart/2005/8/layout/hierarchy3"/>
    <dgm:cxn modelId="{30C59464-CC5A-794E-9616-BCB8648AAA57}" type="presParOf" srcId="{832F9293-314E-DD48-844C-CE35252C645F}" destId="{B01B69BF-0024-6246-AA85-3D3C61D31FDA}" srcOrd="7" destOrd="0" presId="urn:microsoft.com/office/officeart/2005/8/layout/hierarchy3"/>
    <dgm:cxn modelId="{A67B63A1-639A-0843-9ECF-1BB814A21382}" type="presParOf" srcId="{631C176D-4C7D-754A-9089-38EEDB90C87D}" destId="{9FE24435-6EFF-3D4F-A7F7-C26D694A9506}" srcOrd="2" destOrd="0" presId="urn:microsoft.com/office/officeart/2005/8/layout/hierarchy3"/>
    <dgm:cxn modelId="{4B9A49E7-9C55-6043-9902-E573E6ED41A4}" type="presParOf" srcId="{9FE24435-6EFF-3D4F-A7F7-C26D694A9506}" destId="{BFE545C0-CE2D-BC41-83DC-9FD1B033F073}" srcOrd="0" destOrd="0" presId="urn:microsoft.com/office/officeart/2005/8/layout/hierarchy3"/>
    <dgm:cxn modelId="{D42E2FD3-E817-5546-94B6-D38CDFD232E3}" type="presParOf" srcId="{BFE545C0-CE2D-BC41-83DC-9FD1B033F073}" destId="{73723C24-A949-CE44-8C5D-661F69F4B72F}" srcOrd="0" destOrd="0" presId="urn:microsoft.com/office/officeart/2005/8/layout/hierarchy3"/>
    <dgm:cxn modelId="{957B2C58-22B2-3F43-B80F-C98569D9DB26}" type="presParOf" srcId="{BFE545C0-CE2D-BC41-83DC-9FD1B033F073}" destId="{E4E50D14-47B6-DE46-8C17-B07DD67DF376}" srcOrd="1" destOrd="0" presId="urn:microsoft.com/office/officeart/2005/8/layout/hierarchy3"/>
    <dgm:cxn modelId="{A9021516-0A32-064C-8DDB-B3C83302A53A}" type="presParOf" srcId="{9FE24435-6EFF-3D4F-A7F7-C26D694A9506}" destId="{3867C5B0-BF62-324F-A56E-81C23FABD689}" srcOrd="1" destOrd="0" presId="urn:microsoft.com/office/officeart/2005/8/layout/hierarchy3"/>
    <dgm:cxn modelId="{771F4551-F436-3449-B363-072C84B95487}" type="presParOf" srcId="{3867C5B0-BF62-324F-A56E-81C23FABD689}" destId="{D048CD21-176C-DF4A-83BA-88473161EA9B}" srcOrd="0" destOrd="0" presId="urn:microsoft.com/office/officeart/2005/8/layout/hierarchy3"/>
    <dgm:cxn modelId="{69C9D2A0-0F71-B240-9349-CD9618B4D18C}" type="presParOf" srcId="{3867C5B0-BF62-324F-A56E-81C23FABD689}" destId="{E3F0866D-7DB0-BD45-9FB6-118339B5A499}" srcOrd="1" destOrd="0" presId="urn:microsoft.com/office/officeart/2005/8/layout/hierarchy3"/>
    <dgm:cxn modelId="{03ADDAD0-BACB-2D44-B5A6-C043583246AD}" type="presParOf" srcId="{3867C5B0-BF62-324F-A56E-81C23FABD689}" destId="{926DD9CE-4CEA-434D-9A8A-64A1E56B0E09}" srcOrd="2" destOrd="0" presId="urn:microsoft.com/office/officeart/2005/8/layout/hierarchy3"/>
    <dgm:cxn modelId="{AB96FA2A-182B-3046-9A01-9C2C29065DC9}" type="presParOf" srcId="{3867C5B0-BF62-324F-A56E-81C23FABD689}" destId="{4A0AB8A5-0988-CE43-89AA-DEEE97DEDD17}" srcOrd="3" destOrd="0" presId="urn:microsoft.com/office/officeart/2005/8/layout/hierarchy3"/>
    <dgm:cxn modelId="{73778069-CEE7-AE4B-8CEB-52E18FB59EE9}" type="presParOf" srcId="{3867C5B0-BF62-324F-A56E-81C23FABD689}" destId="{A235B0B9-B30C-D249-A3A1-E96A85B6091D}" srcOrd="4" destOrd="0" presId="urn:microsoft.com/office/officeart/2005/8/layout/hierarchy3"/>
    <dgm:cxn modelId="{200C23A1-5857-9845-B390-9826AC0D08CD}" type="presParOf" srcId="{3867C5B0-BF62-324F-A56E-81C23FABD689}" destId="{B6257C21-35A0-F34D-86F2-C33829C8B6F6}" srcOrd="5" destOrd="0" presId="urn:microsoft.com/office/officeart/2005/8/layout/hierarchy3"/>
    <dgm:cxn modelId="{93F2978F-1A8F-8849-9ED4-21288FDBC808}" type="presParOf" srcId="{631C176D-4C7D-754A-9089-38EEDB90C87D}" destId="{B613D4AD-6D21-2C45-80B3-9B0161DF4966}" srcOrd="3" destOrd="0" presId="urn:microsoft.com/office/officeart/2005/8/layout/hierarchy3"/>
    <dgm:cxn modelId="{8975C7B3-FFBF-2B4C-9E87-5E81672527DF}" type="presParOf" srcId="{B613D4AD-6D21-2C45-80B3-9B0161DF4966}" destId="{16047F37-A878-1349-BAD0-D08CA2680E69}" srcOrd="0" destOrd="0" presId="urn:microsoft.com/office/officeart/2005/8/layout/hierarchy3"/>
    <dgm:cxn modelId="{82A6EFDD-BB2E-C54A-ABCD-E6E58EF6CB6C}" type="presParOf" srcId="{16047F37-A878-1349-BAD0-D08CA2680E69}" destId="{C6A95AB0-3CDD-6B4F-9A50-83AAFF7EAE71}" srcOrd="0" destOrd="0" presId="urn:microsoft.com/office/officeart/2005/8/layout/hierarchy3"/>
    <dgm:cxn modelId="{36825D3D-EFCF-9F43-9023-6EFB766C9B39}" type="presParOf" srcId="{16047F37-A878-1349-BAD0-D08CA2680E69}" destId="{81E54D32-2A1C-974D-B519-119440DD7B0F}" srcOrd="1" destOrd="0" presId="urn:microsoft.com/office/officeart/2005/8/layout/hierarchy3"/>
    <dgm:cxn modelId="{8D8EE1E5-9492-7B4C-B30C-189B11911297}" type="presParOf" srcId="{B613D4AD-6D21-2C45-80B3-9B0161DF4966}" destId="{27949954-E46E-704C-81A1-9D93DB1D31B7}" srcOrd="1" destOrd="0" presId="urn:microsoft.com/office/officeart/2005/8/layout/hierarchy3"/>
    <dgm:cxn modelId="{9815ED9A-28E4-2340-82A3-767C2E51BF3E}" type="presParOf" srcId="{27949954-E46E-704C-81A1-9D93DB1D31B7}" destId="{C0FC3D16-0144-0843-9593-11C84C5BF610}" srcOrd="0" destOrd="0" presId="urn:microsoft.com/office/officeart/2005/8/layout/hierarchy3"/>
    <dgm:cxn modelId="{9FB1C09A-F232-6F4E-BA95-45DB45B010E6}" type="presParOf" srcId="{27949954-E46E-704C-81A1-9D93DB1D31B7}" destId="{DD094C76-1F3F-3F47-9081-7B6C354A95CE}" srcOrd="1" destOrd="0" presId="urn:microsoft.com/office/officeart/2005/8/layout/hierarchy3"/>
    <dgm:cxn modelId="{F1E4E752-D40D-B841-B656-D597C0E37167}" type="presParOf" srcId="{27949954-E46E-704C-81A1-9D93DB1D31B7}" destId="{EAEB3239-12B5-7B4C-B750-BF9EC1E08392}" srcOrd="2" destOrd="0" presId="urn:microsoft.com/office/officeart/2005/8/layout/hierarchy3"/>
    <dgm:cxn modelId="{80817E89-9064-3B4E-9627-1737AD8700C2}" type="presParOf" srcId="{27949954-E46E-704C-81A1-9D93DB1D31B7}" destId="{74A8D3CC-B269-634B-AB55-57B6B948B3BB}" srcOrd="3" destOrd="0" presId="urn:microsoft.com/office/officeart/2005/8/layout/hierarchy3"/>
    <dgm:cxn modelId="{EADD3A83-524E-7443-8213-355B08428ECA}" type="presParOf" srcId="{27949954-E46E-704C-81A1-9D93DB1D31B7}" destId="{AB6424F3-19D2-B543-963D-662FE6E95D87}" srcOrd="4" destOrd="0" presId="urn:microsoft.com/office/officeart/2005/8/layout/hierarchy3"/>
    <dgm:cxn modelId="{E4A9573D-6A69-014F-BE75-B8B85FE534D1}" type="presParOf" srcId="{27949954-E46E-704C-81A1-9D93DB1D31B7}" destId="{CCA42568-3465-5B43-96E8-AAFAA149BD9B}" srcOrd="5" destOrd="0" presId="urn:microsoft.com/office/officeart/2005/8/layout/hierarchy3"/>
    <dgm:cxn modelId="{B921A7C0-271F-4747-AB9C-1748748E18E5}" type="presParOf" srcId="{631C176D-4C7D-754A-9089-38EEDB90C87D}" destId="{90D965F7-AB22-C448-B706-4509649A9905}" srcOrd="4" destOrd="0" presId="urn:microsoft.com/office/officeart/2005/8/layout/hierarchy3"/>
    <dgm:cxn modelId="{C70CA98E-3FA3-7841-8795-EF22243A30AB}" type="presParOf" srcId="{90D965F7-AB22-C448-B706-4509649A9905}" destId="{2F07CC74-993B-D840-9F5F-5F99DF43F092}" srcOrd="0" destOrd="0" presId="urn:microsoft.com/office/officeart/2005/8/layout/hierarchy3"/>
    <dgm:cxn modelId="{BBEC9A1A-ABA5-CC4C-9B6E-1F0BDC6D8F27}" type="presParOf" srcId="{2F07CC74-993B-D840-9F5F-5F99DF43F092}" destId="{89C41EA6-ABFD-C642-B50C-475EA919784F}" srcOrd="0" destOrd="0" presId="urn:microsoft.com/office/officeart/2005/8/layout/hierarchy3"/>
    <dgm:cxn modelId="{9F171424-BBB3-B049-A1BA-E38C714EF337}" type="presParOf" srcId="{2F07CC74-993B-D840-9F5F-5F99DF43F092}" destId="{219AB183-8D6E-714C-8598-60824B0DB551}" srcOrd="1" destOrd="0" presId="urn:microsoft.com/office/officeart/2005/8/layout/hierarchy3"/>
    <dgm:cxn modelId="{2163E0E5-8064-234A-AF08-CC933ABF5983}" type="presParOf" srcId="{90D965F7-AB22-C448-B706-4509649A9905}" destId="{EBAD7093-5646-6644-A313-BDE9E4E20405}" srcOrd="1" destOrd="0" presId="urn:microsoft.com/office/officeart/2005/8/layout/hierarchy3"/>
    <dgm:cxn modelId="{4CC74E16-F994-2D48-ACF8-091D69069DDE}" type="presParOf" srcId="{EBAD7093-5646-6644-A313-BDE9E4E20405}" destId="{D89ACACD-5BE9-6F45-AD77-7A31851FB30F}" srcOrd="0" destOrd="0" presId="urn:microsoft.com/office/officeart/2005/8/layout/hierarchy3"/>
    <dgm:cxn modelId="{9AB97660-B6CA-4F48-8D27-E6CC887F9773}" type="presParOf" srcId="{EBAD7093-5646-6644-A313-BDE9E4E20405}" destId="{DC78A672-AF72-E243-A1E9-8AE350252DD8}" srcOrd="1" destOrd="0" presId="urn:microsoft.com/office/officeart/2005/8/layout/hierarchy3"/>
    <dgm:cxn modelId="{4C6D6296-E158-8E42-A1EA-3CFDAFF9C6C5}" type="presParOf" srcId="{EBAD7093-5646-6644-A313-BDE9E4E20405}" destId="{25E2F62F-9FE8-314F-BB74-016A1BB69577}" srcOrd="2" destOrd="0" presId="urn:microsoft.com/office/officeart/2005/8/layout/hierarchy3"/>
    <dgm:cxn modelId="{F7FC9CAD-32E4-4646-8A6E-00F2BEFB5D2A}" type="presParOf" srcId="{EBAD7093-5646-6644-A313-BDE9E4E20405}" destId="{FDFA317C-7C20-EB4E-998C-82D08F6FF808}" srcOrd="3" destOrd="0" presId="urn:microsoft.com/office/officeart/2005/8/layout/hierarchy3"/>
    <dgm:cxn modelId="{1458BB3A-B66C-6F4D-80E9-842A9086E408}" type="presParOf" srcId="{631C176D-4C7D-754A-9089-38EEDB90C87D}" destId="{A4DF4A18-5A7F-6A48-838F-20DCD53A5BA3}" srcOrd="5" destOrd="0" presId="urn:microsoft.com/office/officeart/2005/8/layout/hierarchy3"/>
    <dgm:cxn modelId="{4D6ECC06-3F0E-F243-9851-631092F9914E}" type="presParOf" srcId="{A4DF4A18-5A7F-6A48-838F-20DCD53A5BA3}" destId="{E1D7DDA8-760C-6C43-9B94-AD6ABEB09D25}" srcOrd="0" destOrd="0" presId="urn:microsoft.com/office/officeart/2005/8/layout/hierarchy3"/>
    <dgm:cxn modelId="{D298689F-285B-BE4D-B582-96B3796AA0DD}" type="presParOf" srcId="{E1D7DDA8-760C-6C43-9B94-AD6ABEB09D25}" destId="{AA651E7D-2CE3-EA48-ADBF-3FC37E9106E9}" srcOrd="0" destOrd="0" presId="urn:microsoft.com/office/officeart/2005/8/layout/hierarchy3"/>
    <dgm:cxn modelId="{2F613C6C-E8C6-E441-B6DE-57C86F2BD273}" type="presParOf" srcId="{E1D7DDA8-760C-6C43-9B94-AD6ABEB09D25}" destId="{197623DA-7E1A-AD40-BAC8-E6E637253DA1}" srcOrd="1" destOrd="0" presId="urn:microsoft.com/office/officeart/2005/8/layout/hierarchy3"/>
    <dgm:cxn modelId="{1751EE12-9DBE-C848-B100-2CBFBD3BF2F6}" type="presParOf" srcId="{A4DF4A18-5A7F-6A48-838F-20DCD53A5BA3}" destId="{AE8940AB-E007-314B-ACF3-7E366F7FB060}" srcOrd="1" destOrd="0" presId="urn:microsoft.com/office/officeart/2005/8/layout/hierarchy3"/>
    <dgm:cxn modelId="{E1CF300B-55F6-0846-BE42-ACEE11848B23}" type="presParOf" srcId="{AE8940AB-E007-314B-ACF3-7E366F7FB060}" destId="{91EF8BD4-94CC-D946-B188-E6668A44D9AA}" srcOrd="0" destOrd="0" presId="urn:microsoft.com/office/officeart/2005/8/layout/hierarchy3"/>
    <dgm:cxn modelId="{7CF3F6B0-BE3E-2240-9169-6253BA525923}" type="presParOf" srcId="{AE8940AB-E007-314B-ACF3-7E366F7FB060}" destId="{D921EFED-E196-4E49-9CA1-E0DC5C5728BF}" srcOrd="1" destOrd="0" presId="urn:microsoft.com/office/officeart/2005/8/layout/hierarchy3"/>
    <dgm:cxn modelId="{C6AB4611-5E96-8E4F-9EA6-923BA3973BFE}" type="presParOf" srcId="{AE8940AB-E007-314B-ACF3-7E366F7FB060}" destId="{4DF9A69E-4378-0C4D-85C0-D9EC50239B96}" srcOrd="2" destOrd="0" presId="urn:microsoft.com/office/officeart/2005/8/layout/hierarchy3"/>
    <dgm:cxn modelId="{D2925AB7-D617-4F49-8242-C4A3A0273D13}" type="presParOf" srcId="{AE8940AB-E007-314B-ACF3-7E366F7FB060}" destId="{E9E1DC85-619B-8745-99FA-2F3691EB5E04}" srcOrd="3" destOrd="0" presId="urn:microsoft.com/office/officeart/2005/8/layout/hierarchy3"/>
    <dgm:cxn modelId="{A4086D25-898E-7942-A2AF-9F0E9878B7ED}" type="presParOf" srcId="{AE8940AB-E007-314B-ACF3-7E366F7FB060}" destId="{6FBADA69-1D84-6C4B-B6B6-9ACF160C3973}" srcOrd="4" destOrd="0" presId="urn:microsoft.com/office/officeart/2005/8/layout/hierarchy3"/>
    <dgm:cxn modelId="{B2AA61F6-B213-9F41-9958-3D8BEB40C5D2}" type="presParOf" srcId="{AE8940AB-E007-314B-ACF3-7E366F7FB060}" destId="{A4172400-F687-414B-9AC5-33DD2C2CFAE3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1E2FF36-2152-9A43-A666-BDE9392A2E48}" type="doc">
      <dgm:prSet loTypeId="urn:microsoft.com/office/officeart/2009/3/layout/IncreasingArrows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6896B3D6-45BA-1948-B83C-CC6B59B1F491}">
      <dgm:prSet phldrT="[Text]" custT="1"/>
      <dgm:spPr>
        <a:gradFill rotWithShape="0">
          <a:gsLst>
            <a:gs pos="27000">
              <a:schemeClr val="accent1">
                <a:lumMod val="40000"/>
                <a:lumOff val="60000"/>
              </a:schemeClr>
            </a:gs>
            <a:gs pos="32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lin ang="10800000" scaled="1"/>
        </a:gradFill>
      </dgm:spPr>
      <dgm:t>
        <a:bodyPr/>
        <a:lstStyle/>
        <a:p>
          <a:pPr algn="ctr"/>
          <a:r>
            <a:rPr lang="de-DE" sz="1200" b="1" dirty="0"/>
            <a:t>Rechtswirkung</a:t>
          </a:r>
        </a:p>
      </dgm:t>
    </dgm:pt>
    <dgm:pt modelId="{8924F41F-6E0E-3145-AD19-96534E9CC768}" type="parTrans" cxnId="{0529F92B-2013-F34E-A5B8-7F74422B5DB7}">
      <dgm:prSet/>
      <dgm:spPr/>
      <dgm:t>
        <a:bodyPr/>
        <a:lstStyle/>
        <a:p>
          <a:endParaRPr lang="de-DE"/>
        </a:p>
      </dgm:t>
    </dgm:pt>
    <dgm:pt modelId="{8E4A65D9-CD2A-934C-B96E-B2CF62CF41E3}" type="sibTrans" cxnId="{0529F92B-2013-F34E-A5B8-7F74422B5DB7}">
      <dgm:prSet/>
      <dgm:spPr/>
      <dgm:t>
        <a:bodyPr/>
        <a:lstStyle/>
        <a:p>
          <a:endParaRPr lang="de-DE"/>
        </a:p>
      </dgm:t>
    </dgm:pt>
    <dgm:pt modelId="{02E5019A-461F-E249-876F-8ABB30BB2129}">
      <dgm:prSet phldrT="[Text]" custT="1"/>
      <dgm:spPr>
        <a:solidFill>
          <a:schemeClr val="accent5"/>
        </a:solidFill>
      </dgm:spPr>
      <dgm:t>
        <a:bodyPr/>
        <a:lstStyle/>
        <a:p>
          <a:pPr algn="l"/>
          <a:r>
            <a:rPr lang="de-DE" sz="1100" b="1" dirty="0"/>
            <a:t>Risiko-Management / Compliance im weiteren Sinne</a:t>
          </a:r>
        </a:p>
      </dgm:t>
    </dgm:pt>
    <dgm:pt modelId="{2E12A08A-6F43-EB4B-A729-8FC362D173C9}" type="parTrans" cxnId="{32C01B2D-2F67-D443-9B37-86859958CDD0}">
      <dgm:prSet/>
      <dgm:spPr/>
      <dgm:t>
        <a:bodyPr/>
        <a:lstStyle/>
        <a:p>
          <a:endParaRPr lang="de-DE"/>
        </a:p>
      </dgm:t>
    </dgm:pt>
    <dgm:pt modelId="{C19D7031-4E1A-BC46-95F4-D07DCE62C248}" type="sibTrans" cxnId="{32C01B2D-2F67-D443-9B37-86859958CDD0}">
      <dgm:prSet/>
      <dgm:spPr/>
      <dgm:t>
        <a:bodyPr/>
        <a:lstStyle/>
        <a:p>
          <a:endParaRPr lang="de-DE"/>
        </a:p>
      </dgm:t>
    </dgm:pt>
    <dgm:pt modelId="{F2B639E6-2416-A849-8C0E-07104D0E7249}">
      <dgm:prSet phldrT="[Text]" custT="1"/>
      <dgm:spPr>
        <a:solidFill>
          <a:schemeClr val="accent5"/>
        </a:solidFill>
      </dgm:spPr>
      <dgm:t>
        <a:bodyPr/>
        <a:lstStyle/>
        <a:p>
          <a:pPr algn="l"/>
          <a:r>
            <a:rPr lang="de-DE" sz="1200" b="1" dirty="0"/>
            <a:t>Compliance-Management / Compliance im engeren Sinne</a:t>
          </a:r>
        </a:p>
      </dgm:t>
    </dgm:pt>
    <dgm:pt modelId="{02955ED4-8857-DD46-BFD4-37F879F46AF1}" type="parTrans" cxnId="{64705942-1DCD-A043-BFC4-8BEA07B1C895}">
      <dgm:prSet/>
      <dgm:spPr/>
      <dgm:t>
        <a:bodyPr/>
        <a:lstStyle/>
        <a:p>
          <a:endParaRPr lang="de-DE"/>
        </a:p>
      </dgm:t>
    </dgm:pt>
    <dgm:pt modelId="{67C4FBB2-BAFE-1D48-BE62-6866D3648217}" type="sibTrans" cxnId="{64705942-1DCD-A043-BFC4-8BEA07B1C895}">
      <dgm:prSet/>
      <dgm:spPr/>
      <dgm:t>
        <a:bodyPr/>
        <a:lstStyle/>
        <a:p>
          <a:endParaRPr lang="de-DE"/>
        </a:p>
      </dgm:t>
    </dgm:pt>
    <dgm:pt modelId="{E4BD0485-4C6A-6A4B-8C7F-964459F5C3A3}" type="pres">
      <dgm:prSet presAssocID="{11E2FF36-2152-9A43-A666-BDE9392A2E48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de-DE"/>
        </a:p>
      </dgm:t>
    </dgm:pt>
    <dgm:pt modelId="{383237BB-63BE-5A43-9FFD-6F8453A57E03}" type="pres">
      <dgm:prSet presAssocID="{6896B3D6-45BA-1948-B83C-CC6B59B1F491}" presName="parentText1" presStyleLbl="node1" presStyleIdx="0" presStyleCnt="3" custScaleX="97788" custScaleY="59044" custLinFactNeighborX="7305" custLinFactNeighborY="-64696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0F3535C-E695-AD42-B3F0-0E0BDB1B8A95}" type="pres">
      <dgm:prSet presAssocID="{02E5019A-461F-E249-876F-8ABB30BB2129}" presName="parentText2" presStyleLbl="node1" presStyleIdx="1" presStyleCnt="3" custScaleX="68221" custScaleY="63079" custLinFactY="-53663" custLinFactNeighborX="-48194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00D48EA-ACFA-1643-963D-D8ECC7609E59}" type="pres">
      <dgm:prSet presAssocID="{F2B639E6-2416-A849-8C0E-07104D0E7249}" presName="parentText3" presStyleLbl="node1" presStyleIdx="2" presStyleCnt="3" custScaleX="162535" custScaleY="59980" custLinFactY="-65854" custLinFactNeighborX="-16218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1AC6982-96A2-024D-873D-CB936B70CF61}" type="presOf" srcId="{F2B639E6-2416-A849-8C0E-07104D0E7249}" destId="{B00D48EA-ACFA-1643-963D-D8ECC7609E59}" srcOrd="0" destOrd="0" presId="urn:microsoft.com/office/officeart/2009/3/layout/IncreasingArrowsProcess"/>
    <dgm:cxn modelId="{FF93F6E3-2654-424F-A1D4-9E9CDBFBC91D}" type="presOf" srcId="{02E5019A-461F-E249-876F-8ABB30BB2129}" destId="{50F3535C-E695-AD42-B3F0-0E0BDB1B8A95}" srcOrd="0" destOrd="0" presId="urn:microsoft.com/office/officeart/2009/3/layout/IncreasingArrowsProcess"/>
    <dgm:cxn modelId="{64705942-1DCD-A043-BFC4-8BEA07B1C895}" srcId="{11E2FF36-2152-9A43-A666-BDE9392A2E48}" destId="{F2B639E6-2416-A849-8C0E-07104D0E7249}" srcOrd="2" destOrd="0" parTransId="{02955ED4-8857-DD46-BFD4-37F879F46AF1}" sibTransId="{67C4FBB2-BAFE-1D48-BE62-6866D3648217}"/>
    <dgm:cxn modelId="{F7D0B693-8EA3-A244-BB84-0F564C43771B}" type="presOf" srcId="{11E2FF36-2152-9A43-A666-BDE9392A2E48}" destId="{E4BD0485-4C6A-6A4B-8C7F-964459F5C3A3}" srcOrd="0" destOrd="0" presId="urn:microsoft.com/office/officeart/2009/3/layout/IncreasingArrowsProcess"/>
    <dgm:cxn modelId="{0529F92B-2013-F34E-A5B8-7F74422B5DB7}" srcId="{11E2FF36-2152-9A43-A666-BDE9392A2E48}" destId="{6896B3D6-45BA-1948-B83C-CC6B59B1F491}" srcOrd="0" destOrd="0" parTransId="{8924F41F-6E0E-3145-AD19-96534E9CC768}" sibTransId="{8E4A65D9-CD2A-934C-B96E-B2CF62CF41E3}"/>
    <dgm:cxn modelId="{0BF11C2D-1F52-1E40-91D5-560CAF0F3403}" type="presOf" srcId="{6896B3D6-45BA-1948-B83C-CC6B59B1F491}" destId="{383237BB-63BE-5A43-9FFD-6F8453A57E03}" srcOrd="0" destOrd="0" presId="urn:microsoft.com/office/officeart/2009/3/layout/IncreasingArrowsProcess"/>
    <dgm:cxn modelId="{32C01B2D-2F67-D443-9B37-86859958CDD0}" srcId="{11E2FF36-2152-9A43-A666-BDE9392A2E48}" destId="{02E5019A-461F-E249-876F-8ABB30BB2129}" srcOrd="1" destOrd="0" parTransId="{2E12A08A-6F43-EB4B-A729-8FC362D173C9}" sibTransId="{C19D7031-4E1A-BC46-95F4-D07DCE62C248}"/>
    <dgm:cxn modelId="{314D3008-265E-D443-BDD3-8621594D5441}" type="presParOf" srcId="{E4BD0485-4C6A-6A4B-8C7F-964459F5C3A3}" destId="{383237BB-63BE-5A43-9FFD-6F8453A57E03}" srcOrd="0" destOrd="0" presId="urn:microsoft.com/office/officeart/2009/3/layout/IncreasingArrowsProcess"/>
    <dgm:cxn modelId="{7C2D7116-2571-2049-8A90-1EDB69965B61}" type="presParOf" srcId="{E4BD0485-4C6A-6A4B-8C7F-964459F5C3A3}" destId="{50F3535C-E695-AD42-B3F0-0E0BDB1B8A95}" srcOrd="1" destOrd="0" presId="urn:microsoft.com/office/officeart/2009/3/layout/IncreasingArrowsProcess"/>
    <dgm:cxn modelId="{850CE6C5-F0B1-4F4D-9F47-97AB3F17F920}" type="presParOf" srcId="{E4BD0485-4C6A-6A4B-8C7F-964459F5C3A3}" destId="{B00D48EA-ACFA-1643-963D-D8ECC7609E59}" srcOrd="2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6875537-A6C3-4829-B1CB-72C97ABD0067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</dgm:pt>
    <dgm:pt modelId="{3A28BEBD-43E2-4071-BF91-C5F22BA12F60}">
      <dgm:prSet phldrT="[Text]"/>
      <dgm:spPr/>
      <dgm:t>
        <a:bodyPr/>
        <a:lstStyle/>
        <a:p>
          <a:r>
            <a:rPr lang="de-DE" dirty="0"/>
            <a:t>1. Ermittlung Status quo und Ziele</a:t>
          </a:r>
        </a:p>
      </dgm:t>
    </dgm:pt>
    <dgm:pt modelId="{F77E81C0-FBAE-4E26-9F72-472DCD419392}" type="parTrans" cxnId="{0EC04302-D38F-4370-A305-19E2C9F2FB52}">
      <dgm:prSet/>
      <dgm:spPr/>
      <dgm:t>
        <a:bodyPr/>
        <a:lstStyle/>
        <a:p>
          <a:endParaRPr lang="de-DE"/>
        </a:p>
      </dgm:t>
    </dgm:pt>
    <dgm:pt modelId="{ACD8B14B-67C0-4444-BA86-7BD1B14502A3}" type="sibTrans" cxnId="{0EC04302-D38F-4370-A305-19E2C9F2FB52}">
      <dgm:prSet/>
      <dgm:spPr/>
      <dgm:t>
        <a:bodyPr/>
        <a:lstStyle/>
        <a:p>
          <a:endParaRPr lang="de-DE"/>
        </a:p>
      </dgm:t>
    </dgm:pt>
    <dgm:pt modelId="{579D7A86-45CB-4B3E-9A51-988C0FB438C6}">
      <dgm:prSet phldrT="[Text]"/>
      <dgm:spPr/>
      <dgm:t>
        <a:bodyPr/>
        <a:lstStyle/>
        <a:p>
          <a:r>
            <a:rPr lang="de-DE" dirty="0"/>
            <a:t>3. Rollout und Digitalisierung</a:t>
          </a:r>
        </a:p>
      </dgm:t>
    </dgm:pt>
    <dgm:pt modelId="{97A473E2-BEC9-4465-A853-A7495E32482E}" type="parTrans" cxnId="{5518B3CA-7477-4702-9B2B-65409C18EC2E}">
      <dgm:prSet/>
      <dgm:spPr/>
      <dgm:t>
        <a:bodyPr/>
        <a:lstStyle/>
        <a:p>
          <a:endParaRPr lang="de-DE"/>
        </a:p>
      </dgm:t>
    </dgm:pt>
    <dgm:pt modelId="{7A8A7686-68F3-4898-8C54-AC15EE8467B5}" type="sibTrans" cxnId="{5518B3CA-7477-4702-9B2B-65409C18EC2E}">
      <dgm:prSet/>
      <dgm:spPr/>
      <dgm:t>
        <a:bodyPr/>
        <a:lstStyle/>
        <a:p>
          <a:endParaRPr lang="de-DE"/>
        </a:p>
      </dgm:t>
    </dgm:pt>
    <dgm:pt modelId="{CBBD7BB3-BFFB-4C89-A753-D24DD261ABC4}">
      <dgm:prSet phldrT="[Text]"/>
      <dgm:spPr/>
      <dgm:t>
        <a:bodyPr/>
        <a:lstStyle/>
        <a:p>
          <a:r>
            <a:rPr lang="de-DE" dirty="0"/>
            <a:t>4. DIN-Zertifizierung</a:t>
          </a:r>
        </a:p>
      </dgm:t>
    </dgm:pt>
    <dgm:pt modelId="{6C184026-FF1A-4BAD-A2D8-A434B9C8B167}" type="parTrans" cxnId="{2B51D62A-399A-4143-9F8D-1618255066B8}">
      <dgm:prSet/>
      <dgm:spPr/>
      <dgm:t>
        <a:bodyPr/>
        <a:lstStyle/>
        <a:p>
          <a:endParaRPr lang="de-DE"/>
        </a:p>
      </dgm:t>
    </dgm:pt>
    <dgm:pt modelId="{E0F2B6F4-CFB9-4D98-92F8-B28F4E39246F}" type="sibTrans" cxnId="{2B51D62A-399A-4143-9F8D-1618255066B8}">
      <dgm:prSet/>
      <dgm:spPr/>
      <dgm:t>
        <a:bodyPr/>
        <a:lstStyle/>
        <a:p>
          <a:endParaRPr lang="de-DE"/>
        </a:p>
      </dgm:t>
    </dgm:pt>
    <dgm:pt modelId="{D18EDB41-4249-47A4-8CD5-37C3887F6F16}">
      <dgm:prSet phldrT="[Text]"/>
      <dgm:spPr/>
      <dgm:t>
        <a:bodyPr/>
        <a:lstStyle/>
        <a:p>
          <a:r>
            <a:rPr lang="de-DE" dirty="0"/>
            <a:t>5. Nachsorge</a:t>
          </a:r>
        </a:p>
      </dgm:t>
    </dgm:pt>
    <dgm:pt modelId="{AF1BF6A5-E319-4FE6-B765-96B002460992}" type="parTrans" cxnId="{B26393B3-703B-411C-9C34-1E9E4225FC82}">
      <dgm:prSet/>
      <dgm:spPr/>
      <dgm:t>
        <a:bodyPr/>
        <a:lstStyle/>
        <a:p>
          <a:endParaRPr lang="de-DE"/>
        </a:p>
      </dgm:t>
    </dgm:pt>
    <dgm:pt modelId="{1D632BDE-6E37-4E6F-9A2F-F1461567514F}" type="sibTrans" cxnId="{B26393B3-703B-411C-9C34-1E9E4225FC82}">
      <dgm:prSet/>
      <dgm:spPr/>
      <dgm:t>
        <a:bodyPr/>
        <a:lstStyle/>
        <a:p>
          <a:endParaRPr lang="de-DE"/>
        </a:p>
      </dgm:t>
    </dgm:pt>
    <dgm:pt modelId="{AA78324D-DE41-FC4E-AFE9-96D04D60116C}">
      <dgm:prSet phldrT="[Text]"/>
      <dgm:spPr/>
      <dgm:t>
        <a:bodyPr/>
        <a:lstStyle/>
        <a:p>
          <a:r>
            <a:rPr lang="de-DE" dirty="0"/>
            <a:t>2. Umsetzungsphase</a:t>
          </a:r>
        </a:p>
      </dgm:t>
    </dgm:pt>
    <dgm:pt modelId="{2FA68D3D-0E60-4946-B900-3EBE65150932}" type="parTrans" cxnId="{0DD18019-37DE-224F-A457-62971F57C957}">
      <dgm:prSet/>
      <dgm:spPr/>
      <dgm:t>
        <a:bodyPr/>
        <a:lstStyle/>
        <a:p>
          <a:endParaRPr lang="de-DE"/>
        </a:p>
      </dgm:t>
    </dgm:pt>
    <dgm:pt modelId="{7033672A-94A4-0443-B874-A19FEA010D27}" type="sibTrans" cxnId="{0DD18019-37DE-224F-A457-62971F57C957}">
      <dgm:prSet/>
      <dgm:spPr/>
      <dgm:t>
        <a:bodyPr/>
        <a:lstStyle/>
        <a:p>
          <a:endParaRPr lang="de-DE"/>
        </a:p>
      </dgm:t>
    </dgm:pt>
    <dgm:pt modelId="{6AF75707-6DFA-481E-80FE-70F8F1021BBF}" type="pres">
      <dgm:prSet presAssocID="{16875537-A6C3-4829-B1CB-72C97ABD0067}" presName="outerComposite" presStyleCnt="0">
        <dgm:presLayoutVars>
          <dgm:chMax val="5"/>
          <dgm:dir/>
          <dgm:resizeHandles val="exact"/>
        </dgm:presLayoutVars>
      </dgm:prSet>
      <dgm:spPr/>
    </dgm:pt>
    <dgm:pt modelId="{47B849A0-D08E-4974-B145-C9D057DDAB08}" type="pres">
      <dgm:prSet presAssocID="{16875537-A6C3-4829-B1CB-72C97ABD0067}" presName="dummyMaxCanvas" presStyleCnt="0">
        <dgm:presLayoutVars/>
      </dgm:prSet>
      <dgm:spPr/>
    </dgm:pt>
    <dgm:pt modelId="{5D32EF54-49CC-6848-BAB8-435D5B9E3E0C}" type="pres">
      <dgm:prSet presAssocID="{16875537-A6C3-4829-B1CB-72C97ABD0067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317B747-F373-6944-9D1E-8B637D2FA3D1}" type="pres">
      <dgm:prSet presAssocID="{16875537-A6C3-4829-B1CB-72C97ABD0067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9B30DCC-9737-5F43-8CB7-43659BDF276C}" type="pres">
      <dgm:prSet presAssocID="{16875537-A6C3-4829-B1CB-72C97ABD0067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CC12855-D5F3-B149-91DD-E566A9EABBE1}" type="pres">
      <dgm:prSet presAssocID="{16875537-A6C3-4829-B1CB-72C97ABD0067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6A16FDF-FB54-264E-AFD3-4E883ED5725B}" type="pres">
      <dgm:prSet presAssocID="{16875537-A6C3-4829-B1CB-72C97ABD0067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5922029-FFC6-3745-A19D-757734767BBA}" type="pres">
      <dgm:prSet presAssocID="{16875537-A6C3-4829-B1CB-72C97ABD0067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BE498EE-ACB4-0B4C-9FA6-AD7CABBBABF2}" type="pres">
      <dgm:prSet presAssocID="{16875537-A6C3-4829-B1CB-72C97ABD0067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6A8B45E-24BB-4945-B724-CFE9B7B98A0C}" type="pres">
      <dgm:prSet presAssocID="{16875537-A6C3-4829-B1CB-72C97ABD0067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5B5015E-36CB-7E48-B4F2-32EE23F922BF}" type="pres">
      <dgm:prSet presAssocID="{16875537-A6C3-4829-B1CB-72C97ABD0067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123EC64-2DD9-084D-80AB-008AC2B27061}" type="pres">
      <dgm:prSet presAssocID="{16875537-A6C3-4829-B1CB-72C97ABD0067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9A7E08A-B36D-824C-B6BC-60291C2AA11B}" type="pres">
      <dgm:prSet presAssocID="{16875537-A6C3-4829-B1CB-72C97ABD0067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8E24EB2-B5DF-3F45-836F-06CEB8A46B52}" type="pres">
      <dgm:prSet presAssocID="{16875537-A6C3-4829-B1CB-72C97ABD0067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2B20BC4-9B26-344D-AEEA-AA68A98453BD}" type="pres">
      <dgm:prSet presAssocID="{16875537-A6C3-4829-B1CB-72C97ABD0067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DB8EFA-6CB3-4547-BA9F-C95D676CA028}" type="pres">
      <dgm:prSet presAssocID="{16875537-A6C3-4829-B1CB-72C97ABD0067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A7C67AF-CAC4-4752-95C9-33B50210BDE7}" type="presOf" srcId="{16875537-A6C3-4829-B1CB-72C97ABD0067}" destId="{6AF75707-6DFA-481E-80FE-70F8F1021BBF}" srcOrd="0" destOrd="0" presId="urn:microsoft.com/office/officeart/2005/8/layout/vProcess5"/>
    <dgm:cxn modelId="{0EC04302-D38F-4370-A305-19E2C9F2FB52}" srcId="{16875537-A6C3-4829-B1CB-72C97ABD0067}" destId="{3A28BEBD-43E2-4071-BF91-C5F22BA12F60}" srcOrd="0" destOrd="0" parTransId="{F77E81C0-FBAE-4E26-9F72-472DCD419392}" sibTransId="{ACD8B14B-67C0-4444-BA86-7BD1B14502A3}"/>
    <dgm:cxn modelId="{6B91B2FD-904C-6840-8796-9240D768E3BF}" type="presOf" srcId="{E0F2B6F4-CFB9-4D98-92F8-B28F4E39246F}" destId="{95B5015E-36CB-7E48-B4F2-32EE23F922BF}" srcOrd="0" destOrd="0" presId="urn:microsoft.com/office/officeart/2005/8/layout/vProcess5"/>
    <dgm:cxn modelId="{8910EB05-27D9-DF49-AE38-77397826755D}" type="presOf" srcId="{CBBD7BB3-BFFB-4C89-A753-D24DD261ABC4}" destId="{72B20BC4-9B26-344D-AEEA-AA68A98453BD}" srcOrd="1" destOrd="0" presId="urn:microsoft.com/office/officeart/2005/8/layout/vProcess5"/>
    <dgm:cxn modelId="{3409E29A-1C7F-F74D-840D-3A556AFB1B1C}" type="presOf" srcId="{ACD8B14B-67C0-4444-BA86-7BD1B14502A3}" destId="{25922029-FFC6-3745-A19D-757734767BBA}" srcOrd="0" destOrd="0" presId="urn:microsoft.com/office/officeart/2005/8/layout/vProcess5"/>
    <dgm:cxn modelId="{312D70EA-2BB2-074C-902E-C69AF8A04E8F}" type="presOf" srcId="{3A28BEBD-43E2-4071-BF91-C5F22BA12F60}" destId="{8123EC64-2DD9-084D-80AB-008AC2B27061}" srcOrd="1" destOrd="0" presId="urn:microsoft.com/office/officeart/2005/8/layout/vProcess5"/>
    <dgm:cxn modelId="{D7B344D0-2B9E-1941-B739-1DEA63EFD32B}" type="presOf" srcId="{AA78324D-DE41-FC4E-AFE9-96D04D60116C}" destId="{E317B747-F373-6944-9D1E-8B637D2FA3D1}" srcOrd="0" destOrd="0" presId="urn:microsoft.com/office/officeart/2005/8/layout/vProcess5"/>
    <dgm:cxn modelId="{BDB4404C-C1EF-0F4C-A0F6-53E903066028}" type="presOf" srcId="{7A8A7686-68F3-4898-8C54-AC15EE8467B5}" destId="{F6A8B45E-24BB-4945-B724-CFE9B7B98A0C}" srcOrd="0" destOrd="0" presId="urn:microsoft.com/office/officeart/2005/8/layout/vProcess5"/>
    <dgm:cxn modelId="{AEB10D52-79E8-6440-8918-4DFF009517EE}" type="presOf" srcId="{579D7A86-45CB-4B3E-9A51-988C0FB438C6}" destId="{58E24EB2-B5DF-3F45-836F-06CEB8A46B52}" srcOrd="1" destOrd="0" presId="urn:microsoft.com/office/officeart/2005/8/layout/vProcess5"/>
    <dgm:cxn modelId="{B26393B3-703B-411C-9C34-1E9E4225FC82}" srcId="{16875537-A6C3-4829-B1CB-72C97ABD0067}" destId="{D18EDB41-4249-47A4-8CD5-37C3887F6F16}" srcOrd="4" destOrd="0" parTransId="{AF1BF6A5-E319-4FE6-B765-96B002460992}" sibTransId="{1D632BDE-6E37-4E6F-9A2F-F1461567514F}"/>
    <dgm:cxn modelId="{119B2022-5F2B-E546-9B66-C12BE012C8E2}" type="presOf" srcId="{D18EDB41-4249-47A4-8CD5-37C3887F6F16}" destId="{98DB8EFA-6CB3-4547-BA9F-C95D676CA028}" srcOrd="1" destOrd="0" presId="urn:microsoft.com/office/officeart/2005/8/layout/vProcess5"/>
    <dgm:cxn modelId="{2B51D62A-399A-4143-9F8D-1618255066B8}" srcId="{16875537-A6C3-4829-B1CB-72C97ABD0067}" destId="{CBBD7BB3-BFFB-4C89-A753-D24DD261ABC4}" srcOrd="3" destOrd="0" parTransId="{6C184026-FF1A-4BAD-A2D8-A434B9C8B167}" sibTransId="{E0F2B6F4-CFB9-4D98-92F8-B28F4E39246F}"/>
    <dgm:cxn modelId="{0DD18019-37DE-224F-A457-62971F57C957}" srcId="{16875537-A6C3-4829-B1CB-72C97ABD0067}" destId="{AA78324D-DE41-FC4E-AFE9-96D04D60116C}" srcOrd="1" destOrd="0" parTransId="{2FA68D3D-0E60-4946-B900-3EBE65150932}" sibTransId="{7033672A-94A4-0443-B874-A19FEA010D27}"/>
    <dgm:cxn modelId="{035DC270-72C4-EC4D-BC3A-70EBF2544C8D}" type="presOf" srcId="{7033672A-94A4-0443-B874-A19FEA010D27}" destId="{2BE498EE-ACB4-0B4C-9FA6-AD7CABBBABF2}" srcOrd="0" destOrd="0" presId="urn:microsoft.com/office/officeart/2005/8/layout/vProcess5"/>
    <dgm:cxn modelId="{3A1D3D71-F20D-B04C-80A4-51C395B2B65B}" type="presOf" srcId="{CBBD7BB3-BFFB-4C89-A753-D24DD261ABC4}" destId="{6CC12855-D5F3-B149-91DD-E566A9EABBE1}" srcOrd="0" destOrd="0" presId="urn:microsoft.com/office/officeart/2005/8/layout/vProcess5"/>
    <dgm:cxn modelId="{791706E7-3410-6448-97FE-1DB8646261C3}" type="presOf" srcId="{AA78324D-DE41-FC4E-AFE9-96D04D60116C}" destId="{49A7E08A-B36D-824C-B6BC-60291C2AA11B}" srcOrd="1" destOrd="0" presId="urn:microsoft.com/office/officeart/2005/8/layout/vProcess5"/>
    <dgm:cxn modelId="{F30452BD-5DAA-2248-9C35-D0954AD41255}" type="presOf" srcId="{D18EDB41-4249-47A4-8CD5-37C3887F6F16}" destId="{E6A16FDF-FB54-264E-AFD3-4E883ED5725B}" srcOrd="0" destOrd="0" presId="urn:microsoft.com/office/officeart/2005/8/layout/vProcess5"/>
    <dgm:cxn modelId="{5518B3CA-7477-4702-9B2B-65409C18EC2E}" srcId="{16875537-A6C3-4829-B1CB-72C97ABD0067}" destId="{579D7A86-45CB-4B3E-9A51-988C0FB438C6}" srcOrd="2" destOrd="0" parTransId="{97A473E2-BEC9-4465-A853-A7495E32482E}" sibTransId="{7A8A7686-68F3-4898-8C54-AC15EE8467B5}"/>
    <dgm:cxn modelId="{9CFEB317-CD9E-3D4E-8614-FBEA3BFDC75D}" type="presOf" srcId="{579D7A86-45CB-4B3E-9A51-988C0FB438C6}" destId="{99B30DCC-9737-5F43-8CB7-43659BDF276C}" srcOrd="0" destOrd="0" presId="urn:microsoft.com/office/officeart/2005/8/layout/vProcess5"/>
    <dgm:cxn modelId="{9C2FE609-9589-C341-9D5A-AD35CE77372F}" type="presOf" srcId="{3A28BEBD-43E2-4071-BF91-C5F22BA12F60}" destId="{5D32EF54-49CC-6848-BAB8-435D5B9E3E0C}" srcOrd="0" destOrd="0" presId="urn:microsoft.com/office/officeart/2005/8/layout/vProcess5"/>
    <dgm:cxn modelId="{50EE64CE-EC19-4C74-BAB7-2F0C1ABDC889}" type="presParOf" srcId="{6AF75707-6DFA-481E-80FE-70F8F1021BBF}" destId="{47B849A0-D08E-4974-B145-C9D057DDAB08}" srcOrd="0" destOrd="0" presId="urn:microsoft.com/office/officeart/2005/8/layout/vProcess5"/>
    <dgm:cxn modelId="{FF9AB457-0CF4-EC42-A061-27F4C06354B2}" type="presParOf" srcId="{6AF75707-6DFA-481E-80FE-70F8F1021BBF}" destId="{5D32EF54-49CC-6848-BAB8-435D5B9E3E0C}" srcOrd="1" destOrd="0" presId="urn:microsoft.com/office/officeart/2005/8/layout/vProcess5"/>
    <dgm:cxn modelId="{6A8FC176-DD9E-CA48-BE5A-1493FB54AA9A}" type="presParOf" srcId="{6AF75707-6DFA-481E-80FE-70F8F1021BBF}" destId="{E317B747-F373-6944-9D1E-8B637D2FA3D1}" srcOrd="2" destOrd="0" presId="urn:microsoft.com/office/officeart/2005/8/layout/vProcess5"/>
    <dgm:cxn modelId="{ECB24B16-4A25-BE4B-BDC1-684A6C5066F1}" type="presParOf" srcId="{6AF75707-6DFA-481E-80FE-70F8F1021BBF}" destId="{99B30DCC-9737-5F43-8CB7-43659BDF276C}" srcOrd="3" destOrd="0" presId="urn:microsoft.com/office/officeart/2005/8/layout/vProcess5"/>
    <dgm:cxn modelId="{971C5F8F-F73E-9744-9FC3-BB9E127BFF84}" type="presParOf" srcId="{6AF75707-6DFA-481E-80FE-70F8F1021BBF}" destId="{6CC12855-D5F3-B149-91DD-E566A9EABBE1}" srcOrd="4" destOrd="0" presId="urn:microsoft.com/office/officeart/2005/8/layout/vProcess5"/>
    <dgm:cxn modelId="{4ABD1EDC-1698-154B-AD20-11A82FCE544E}" type="presParOf" srcId="{6AF75707-6DFA-481E-80FE-70F8F1021BBF}" destId="{E6A16FDF-FB54-264E-AFD3-4E883ED5725B}" srcOrd="5" destOrd="0" presId="urn:microsoft.com/office/officeart/2005/8/layout/vProcess5"/>
    <dgm:cxn modelId="{E41083F4-C0FE-FB42-8F3C-5575346BEEF2}" type="presParOf" srcId="{6AF75707-6DFA-481E-80FE-70F8F1021BBF}" destId="{25922029-FFC6-3745-A19D-757734767BBA}" srcOrd="6" destOrd="0" presId="urn:microsoft.com/office/officeart/2005/8/layout/vProcess5"/>
    <dgm:cxn modelId="{784B4724-1838-C543-9395-C231321C899F}" type="presParOf" srcId="{6AF75707-6DFA-481E-80FE-70F8F1021BBF}" destId="{2BE498EE-ACB4-0B4C-9FA6-AD7CABBBABF2}" srcOrd="7" destOrd="0" presId="urn:microsoft.com/office/officeart/2005/8/layout/vProcess5"/>
    <dgm:cxn modelId="{4CD3BB60-8B1B-A141-8FB2-368B61F6E7CF}" type="presParOf" srcId="{6AF75707-6DFA-481E-80FE-70F8F1021BBF}" destId="{F6A8B45E-24BB-4945-B724-CFE9B7B98A0C}" srcOrd="8" destOrd="0" presId="urn:microsoft.com/office/officeart/2005/8/layout/vProcess5"/>
    <dgm:cxn modelId="{0DE0DB30-DA3C-414D-A5A5-1ABA521A72B7}" type="presParOf" srcId="{6AF75707-6DFA-481E-80FE-70F8F1021BBF}" destId="{95B5015E-36CB-7E48-B4F2-32EE23F922BF}" srcOrd="9" destOrd="0" presId="urn:microsoft.com/office/officeart/2005/8/layout/vProcess5"/>
    <dgm:cxn modelId="{31678E6B-3826-474F-B5BE-F1A039FB4E9A}" type="presParOf" srcId="{6AF75707-6DFA-481E-80FE-70F8F1021BBF}" destId="{8123EC64-2DD9-084D-80AB-008AC2B27061}" srcOrd="10" destOrd="0" presId="urn:microsoft.com/office/officeart/2005/8/layout/vProcess5"/>
    <dgm:cxn modelId="{CF75E6F2-EBCE-FB44-ABC9-28DEA1DAD76B}" type="presParOf" srcId="{6AF75707-6DFA-481E-80FE-70F8F1021BBF}" destId="{49A7E08A-B36D-824C-B6BC-60291C2AA11B}" srcOrd="11" destOrd="0" presId="urn:microsoft.com/office/officeart/2005/8/layout/vProcess5"/>
    <dgm:cxn modelId="{5A5DFCCF-B893-8747-A1DF-74B2C92BB2BB}" type="presParOf" srcId="{6AF75707-6DFA-481E-80FE-70F8F1021BBF}" destId="{58E24EB2-B5DF-3F45-836F-06CEB8A46B52}" srcOrd="12" destOrd="0" presId="urn:microsoft.com/office/officeart/2005/8/layout/vProcess5"/>
    <dgm:cxn modelId="{5FE89ED2-9238-D64C-8F6A-309FFF866C8B}" type="presParOf" srcId="{6AF75707-6DFA-481E-80FE-70F8F1021BBF}" destId="{72B20BC4-9B26-344D-AEEA-AA68A98453BD}" srcOrd="13" destOrd="0" presId="urn:microsoft.com/office/officeart/2005/8/layout/vProcess5"/>
    <dgm:cxn modelId="{A730CA65-1E08-A246-9284-37B40C096554}" type="presParOf" srcId="{6AF75707-6DFA-481E-80FE-70F8F1021BBF}" destId="{98DB8EFA-6CB3-4547-BA9F-C95D676CA028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6875537-A6C3-4829-B1CB-72C97ABD006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A28BEBD-43E2-4071-BF91-C5F22BA12F60}">
      <dgm:prSet phldrT="[Text]" custT="1"/>
      <dgm:spPr/>
      <dgm:t>
        <a:bodyPr/>
        <a:lstStyle/>
        <a:p>
          <a:r>
            <a:rPr lang="de-DE" sz="1400" dirty="0"/>
            <a:t>Umsetzung</a:t>
          </a:r>
        </a:p>
      </dgm:t>
    </dgm:pt>
    <dgm:pt modelId="{F77E81C0-FBAE-4E26-9F72-472DCD419392}" type="parTrans" cxnId="{0EC04302-D38F-4370-A305-19E2C9F2FB52}">
      <dgm:prSet/>
      <dgm:spPr/>
      <dgm:t>
        <a:bodyPr/>
        <a:lstStyle/>
        <a:p>
          <a:endParaRPr lang="de-DE"/>
        </a:p>
      </dgm:t>
    </dgm:pt>
    <dgm:pt modelId="{ACD8B14B-67C0-4444-BA86-7BD1B14502A3}" type="sibTrans" cxnId="{0EC04302-D38F-4370-A305-19E2C9F2FB52}">
      <dgm:prSet/>
      <dgm:spPr/>
      <dgm:t>
        <a:bodyPr/>
        <a:lstStyle/>
        <a:p>
          <a:endParaRPr lang="de-DE"/>
        </a:p>
      </dgm:t>
    </dgm:pt>
    <dgm:pt modelId="{579D7A86-45CB-4B3E-9A51-988C0FB438C6}">
      <dgm:prSet phldrT="[Text]" custT="1"/>
      <dgm:spPr/>
      <dgm:t>
        <a:bodyPr/>
        <a:lstStyle/>
        <a:p>
          <a:r>
            <a:rPr lang="de-DE" sz="1500" dirty="0"/>
            <a:t>Rollout und </a:t>
          </a:r>
          <a:r>
            <a:rPr lang="de-DE" sz="1400" dirty="0"/>
            <a:t>Digitalisierung</a:t>
          </a:r>
          <a:endParaRPr lang="de-DE" sz="1500" dirty="0"/>
        </a:p>
      </dgm:t>
    </dgm:pt>
    <dgm:pt modelId="{97A473E2-BEC9-4465-A853-A7495E32482E}" type="parTrans" cxnId="{5518B3CA-7477-4702-9B2B-65409C18EC2E}">
      <dgm:prSet/>
      <dgm:spPr/>
      <dgm:t>
        <a:bodyPr/>
        <a:lstStyle/>
        <a:p>
          <a:endParaRPr lang="de-DE"/>
        </a:p>
      </dgm:t>
    </dgm:pt>
    <dgm:pt modelId="{7A8A7686-68F3-4898-8C54-AC15EE8467B5}" type="sibTrans" cxnId="{5518B3CA-7477-4702-9B2B-65409C18EC2E}">
      <dgm:prSet/>
      <dgm:spPr/>
      <dgm:t>
        <a:bodyPr/>
        <a:lstStyle/>
        <a:p>
          <a:endParaRPr lang="de-DE"/>
        </a:p>
      </dgm:t>
    </dgm:pt>
    <dgm:pt modelId="{CBBD7BB3-BFFB-4C89-A753-D24DD261ABC4}">
      <dgm:prSet phldrT="[Text]" custT="1"/>
      <dgm:spPr/>
      <dgm:t>
        <a:bodyPr/>
        <a:lstStyle/>
        <a:p>
          <a:r>
            <a:rPr lang="de-DE" sz="1400" dirty="0"/>
            <a:t>Zertifizierung</a:t>
          </a:r>
          <a:endParaRPr lang="de-DE" sz="1500" dirty="0"/>
        </a:p>
      </dgm:t>
    </dgm:pt>
    <dgm:pt modelId="{6C184026-FF1A-4BAD-A2D8-A434B9C8B167}" type="parTrans" cxnId="{2B51D62A-399A-4143-9F8D-1618255066B8}">
      <dgm:prSet/>
      <dgm:spPr/>
      <dgm:t>
        <a:bodyPr/>
        <a:lstStyle/>
        <a:p>
          <a:endParaRPr lang="de-DE"/>
        </a:p>
      </dgm:t>
    </dgm:pt>
    <dgm:pt modelId="{E0F2B6F4-CFB9-4D98-92F8-B28F4E39246F}" type="sibTrans" cxnId="{2B51D62A-399A-4143-9F8D-1618255066B8}">
      <dgm:prSet/>
      <dgm:spPr/>
      <dgm:t>
        <a:bodyPr/>
        <a:lstStyle/>
        <a:p>
          <a:endParaRPr lang="de-DE"/>
        </a:p>
      </dgm:t>
    </dgm:pt>
    <dgm:pt modelId="{D18EDB41-4249-47A4-8CD5-37C3887F6F16}">
      <dgm:prSet phldrT="[Text]" custT="1"/>
      <dgm:spPr>
        <a:ln>
          <a:solidFill>
            <a:schemeClr val="bg1"/>
          </a:solidFill>
        </a:ln>
      </dgm:spPr>
      <dgm:t>
        <a:bodyPr/>
        <a:lstStyle/>
        <a:p>
          <a:r>
            <a:rPr lang="de-DE" sz="1400" dirty="0"/>
            <a:t>Nachsorge</a:t>
          </a:r>
          <a:endParaRPr lang="de-DE" sz="1100" dirty="0"/>
        </a:p>
      </dgm:t>
    </dgm:pt>
    <dgm:pt modelId="{AF1BF6A5-E319-4FE6-B765-96B002460992}" type="parTrans" cxnId="{B26393B3-703B-411C-9C34-1E9E4225FC82}">
      <dgm:prSet/>
      <dgm:spPr/>
      <dgm:t>
        <a:bodyPr/>
        <a:lstStyle/>
        <a:p>
          <a:endParaRPr lang="de-DE"/>
        </a:p>
      </dgm:t>
    </dgm:pt>
    <dgm:pt modelId="{1D632BDE-6E37-4E6F-9A2F-F1461567514F}" type="sibTrans" cxnId="{B26393B3-703B-411C-9C34-1E9E4225FC82}">
      <dgm:prSet/>
      <dgm:spPr/>
      <dgm:t>
        <a:bodyPr/>
        <a:lstStyle/>
        <a:p>
          <a:endParaRPr lang="de-DE"/>
        </a:p>
      </dgm:t>
    </dgm:pt>
    <dgm:pt modelId="{C96BEF3E-75D5-4249-B8DA-2A3AAC89A5DA}">
      <dgm:prSet phldrT="[Text]" custT="1"/>
      <dgm:spPr/>
      <dgm:t>
        <a:bodyPr/>
        <a:lstStyle/>
        <a:p>
          <a:r>
            <a:rPr lang="de-DE" sz="1400"/>
            <a:t>Status </a:t>
          </a:r>
          <a:r>
            <a:rPr lang="de-DE" sz="1400" dirty="0"/>
            <a:t>quo </a:t>
          </a:r>
          <a:r>
            <a:rPr lang="de-DE" sz="1400"/>
            <a:t>und Ziele</a:t>
          </a:r>
          <a:endParaRPr lang="de-DE" sz="1400" dirty="0"/>
        </a:p>
      </dgm:t>
    </dgm:pt>
    <dgm:pt modelId="{7A91165B-5EF8-314B-A504-F98D507A405E}" type="parTrans" cxnId="{40C5AAEF-1B66-C94D-BB4D-8EDAC42B20CD}">
      <dgm:prSet/>
      <dgm:spPr/>
      <dgm:t>
        <a:bodyPr/>
        <a:lstStyle/>
        <a:p>
          <a:endParaRPr lang="de-DE"/>
        </a:p>
      </dgm:t>
    </dgm:pt>
    <dgm:pt modelId="{BDD9B12E-7130-F84F-8CB7-B53383463B21}" type="sibTrans" cxnId="{40C5AAEF-1B66-C94D-BB4D-8EDAC42B20CD}">
      <dgm:prSet/>
      <dgm:spPr/>
      <dgm:t>
        <a:bodyPr/>
        <a:lstStyle/>
        <a:p>
          <a:endParaRPr lang="de-DE"/>
        </a:p>
      </dgm:t>
    </dgm:pt>
    <dgm:pt modelId="{630D9ADA-E508-484C-A315-C0088CC0CE7A}" type="pres">
      <dgm:prSet presAssocID="{16875537-A6C3-4829-B1CB-72C97ABD0067}" presName="CompostProcess" presStyleCnt="0">
        <dgm:presLayoutVars>
          <dgm:dir/>
          <dgm:resizeHandles val="exact"/>
        </dgm:presLayoutVars>
      </dgm:prSet>
      <dgm:spPr/>
    </dgm:pt>
    <dgm:pt modelId="{8979306B-C105-4466-A19F-E7EAAA4F73B9}" type="pres">
      <dgm:prSet presAssocID="{16875537-A6C3-4829-B1CB-72C97ABD0067}" presName="arrow" presStyleLbl="bgShp" presStyleIdx="0" presStyleCnt="1"/>
      <dgm:spPr/>
    </dgm:pt>
    <dgm:pt modelId="{C1EDF062-94C3-4A28-AAA5-CA06DC5204E6}" type="pres">
      <dgm:prSet presAssocID="{16875537-A6C3-4829-B1CB-72C97ABD0067}" presName="linearProcess" presStyleCnt="0"/>
      <dgm:spPr/>
    </dgm:pt>
    <dgm:pt modelId="{B8AAB49D-E705-8840-860A-28F1C04BA096}" type="pres">
      <dgm:prSet presAssocID="{C96BEF3E-75D5-4249-B8DA-2A3AAC89A5DA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2DA4BEE-24DA-5847-B23A-16492D1FA505}" type="pres">
      <dgm:prSet presAssocID="{BDD9B12E-7130-F84F-8CB7-B53383463B21}" presName="sibTrans" presStyleCnt="0"/>
      <dgm:spPr/>
    </dgm:pt>
    <dgm:pt modelId="{B299AA48-453C-46CF-8C74-9920E3A3FC1D}" type="pres">
      <dgm:prSet presAssocID="{3A28BEBD-43E2-4071-BF91-C5F22BA12F60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974AEB3-507A-4445-B50A-04006D20EC64}" type="pres">
      <dgm:prSet presAssocID="{ACD8B14B-67C0-4444-BA86-7BD1B14502A3}" presName="sibTrans" presStyleCnt="0"/>
      <dgm:spPr/>
    </dgm:pt>
    <dgm:pt modelId="{7C0D492A-3073-435B-9E8D-253D40E61982}" type="pres">
      <dgm:prSet presAssocID="{579D7A86-45CB-4B3E-9A51-988C0FB438C6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959BA0C-6F31-446B-A13F-F242577AF50F}" type="pres">
      <dgm:prSet presAssocID="{7A8A7686-68F3-4898-8C54-AC15EE8467B5}" presName="sibTrans" presStyleCnt="0"/>
      <dgm:spPr/>
    </dgm:pt>
    <dgm:pt modelId="{8CFAFDD7-F7F3-491E-B2F7-328445475E5D}" type="pres">
      <dgm:prSet presAssocID="{CBBD7BB3-BFFB-4C89-A753-D24DD261ABC4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431B9F3-CAEF-40ED-9128-5061EBEC7EB3}" type="pres">
      <dgm:prSet presAssocID="{E0F2B6F4-CFB9-4D98-92F8-B28F4E39246F}" presName="sibTrans" presStyleCnt="0"/>
      <dgm:spPr/>
    </dgm:pt>
    <dgm:pt modelId="{005640F4-822C-471E-8D3E-B79919A5A71C}" type="pres">
      <dgm:prSet presAssocID="{D18EDB41-4249-47A4-8CD5-37C3887F6F16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4D2E692-1DCF-4B42-B0AB-2BBE75474EE0}" type="presOf" srcId="{C96BEF3E-75D5-4249-B8DA-2A3AAC89A5DA}" destId="{B8AAB49D-E705-8840-860A-28F1C04BA096}" srcOrd="0" destOrd="0" presId="urn:microsoft.com/office/officeart/2005/8/layout/hProcess9"/>
    <dgm:cxn modelId="{7B5E7B3D-A049-469F-BD04-4BE032754F57}" type="presOf" srcId="{16875537-A6C3-4829-B1CB-72C97ABD0067}" destId="{630D9ADA-E508-484C-A315-C0088CC0CE7A}" srcOrd="0" destOrd="0" presId="urn:microsoft.com/office/officeart/2005/8/layout/hProcess9"/>
    <dgm:cxn modelId="{FE1FEB48-337A-4EAB-818C-C5C7542766CA}" type="presOf" srcId="{CBBD7BB3-BFFB-4C89-A753-D24DD261ABC4}" destId="{8CFAFDD7-F7F3-491E-B2F7-328445475E5D}" srcOrd="0" destOrd="0" presId="urn:microsoft.com/office/officeart/2005/8/layout/hProcess9"/>
    <dgm:cxn modelId="{4C9A8A57-439B-4466-89FF-4C08247E965A}" type="presOf" srcId="{3A28BEBD-43E2-4071-BF91-C5F22BA12F60}" destId="{B299AA48-453C-46CF-8C74-9920E3A3FC1D}" srcOrd="0" destOrd="0" presId="urn:microsoft.com/office/officeart/2005/8/layout/hProcess9"/>
    <dgm:cxn modelId="{AAB06EAF-6086-44FD-9CA0-68B0EDA0D1C5}" type="presOf" srcId="{D18EDB41-4249-47A4-8CD5-37C3887F6F16}" destId="{005640F4-822C-471E-8D3E-B79919A5A71C}" srcOrd="0" destOrd="0" presId="urn:microsoft.com/office/officeart/2005/8/layout/hProcess9"/>
    <dgm:cxn modelId="{B26393B3-703B-411C-9C34-1E9E4225FC82}" srcId="{16875537-A6C3-4829-B1CB-72C97ABD0067}" destId="{D18EDB41-4249-47A4-8CD5-37C3887F6F16}" srcOrd="4" destOrd="0" parTransId="{AF1BF6A5-E319-4FE6-B765-96B002460992}" sibTransId="{1D632BDE-6E37-4E6F-9A2F-F1461567514F}"/>
    <dgm:cxn modelId="{40C5AAEF-1B66-C94D-BB4D-8EDAC42B20CD}" srcId="{16875537-A6C3-4829-B1CB-72C97ABD0067}" destId="{C96BEF3E-75D5-4249-B8DA-2A3AAC89A5DA}" srcOrd="0" destOrd="0" parTransId="{7A91165B-5EF8-314B-A504-F98D507A405E}" sibTransId="{BDD9B12E-7130-F84F-8CB7-B53383463B21}"/>
    <dgm:cxn modelId="{0EC04302-D38F-4370-A305-19E2C9F2FB52}" srcId="{16875537-A6C3-4829-B1CB-72C97ABD0067}" destId="{3A28BEBD-43E2-4071-BF91-C5F22BA12F60}" srcOrd="1" destOrd="0" parTransId="{F77E81C0-FBAE-4E26-9F72-472DCD419392}" sibTransId="{ACD8B14B-67C0-4444-BA86-7BD1B14502A3}"/>
    <dgm:cxn modelId="{2B51D62A-399A-4143-9F8D-1618255066B8}" srcId="{16875537-A6C3-4829-B1CB-72C97ABD0067}" destId="{CBBD7BB3-BFFB-4C89-A753-D24DD261ABC4}" srcOrd="3" destOrd="0" parTransId="{6C184026-FF1A-4BAD-A2D8-A434B9C8B167}" sibTransId="{E0F2B6F4-CFB9-4D98-92F8-B28F4E39246F}"/>
    <dgm:cxn modelId="{B1EB1741-8979-49BD-992D-5594EFE450D4}" type="presOf" srcId="{579D7A86-45CB-4B3E-9A51-988C0FB438C6}" destId="{7C0D492A-3073-435B-9E8D-253D40E61982}" srcOrd="0" destOrd="0" presId="urn:microsoft.com/office/officeart/2005/8/layout/hProcess9"/>
    <dgm:cxn modelId="{5518B3CA-7477-4702-9B2B-65409C18EC2E}" srcId="{16875537-A6C3-4829-B1CB-72C97ABD0067}" destId="{579D7A86-45CB-4B3E-9A51-988C0FB438C6}" srcOrd="2" destOrd="0" parTransId="{97A473E2-BEC9-4465-A853-A7495E32482E}" sibTransId="{7A8A7686-68F3-4898-8C54-AC15EE8467B5}"/>
    <dgm:cxn modelId="{22818AE6-B560-44BA-B19E-0B5DE318E81E}" type="presParOf" srcId="{630D9ADA-E508-484C-A315-C0088CC0CE7A}" destId="{8979306B-C105-4466-A19F-E7EAAA4F73B9}" srcOrd="0" destOrd="0" presId="urn:microsoft.com/office/officeart/2005/8/layout/hProcess9"/>
    <dgm:cxn modelId="{D0C44657-8743-4E5D-A5A9-253D03D1A53B}" type="presParOf" srcId="{630D9ADA-E508-484C-A315-C0088CC0CE7A}" destId="{C1EDF062-94C3-4A28-AAA5-CA06DC5204E6}" srcOrd="1" destOrd="0" presId="urn:microsoft.com/office/officeart/2005/8/layout/hProcess9"/>
    <dgm:cxn modelId="{57F3562A-52AC-8A46-A050-5C15F294EA84}" type="presParOf" srcId="{C1EDF062-94C3-4A28-AAA5-CA06DC5204E6}" destId="{B8AAB49D-E705-8840-860A-28F1C04BA096}" srcOrd="0" destOrd="0" presId="urn:microsoft.com/office/officeart/2005/8/layout/hProcess9"/>
    <dgm:cxn modelId="{C410D131-FA02-BF49-90BC-0CF863E1B0CA}" type="presParOf" srcId="{C1EDF062-94C3-4A28-AAA5-CA06DC5204E6}" destId="{02DA4BEE-24DA-5847-B23A-16492D1FA505}" srcOrd="1" destOrd="0" presId="urn:microsoft.com/office/officeart/2005/8/layout/hProcess9"/>
    <dgm:cxn modelId="{F4116C12-C5E6-49C0-9203-FC6854A8A65B}" type="presParOf" srcId="{C1EDF062-94C3-4A28-AAA5-CA06DC5204E6}" destId="{B299AA48-453C-46CF-8C74-9920E3A3FC1D}" srcOrd="2" destOrd="0" presId="urn:microsoft.com/office/officeart/2005/8/layout/hProcess9"/>
    <dgm:cxn modelId="{B0AFFAC4-8D08-45E8-9522-F31B8455C05C}" type="presParOf" srcId="{C1EDF062-94C3-4A28-AAA5-CA06DC5204E6}" destId="{2974AEB3-507A-4445-B50A-04006D20EC64}" srcOrd="3" destOrd="0" presId="urn:microsoft.com/office/officeart/2005/8/layout/hProcess9"/>
    <dgm:cxn modelId="{86B7C4B9-58CA-4A7D-9382-448DE32168FE}" type="presParOf" srcId="{C1EDF062-94C3-4A28-AAA5-CA06DC5204E6}" destId="{7C0D492A-3073-435B-9E8D-253D40E61982}" srcOrd="4" destOrd="0" presId="urn:microsoft.com/office/officeart/2005/8/layout/hProcess9"/>
    <dgm:cxn modelId="{EB5BD8FC-3C35-447A-A0FE-F956E327ED89}" type="presParOf" srcId="{C1EDF062-94C3-4A28-AAA5-CA06DC5204E6}" destId="{B959BA0C-6F31-446B-A13F-F242577AF50F}" srcOrd="5" destOrd="0" presId="urn:microsoft.com/office/officeart/2005/8/layout/hProcess9"/>
    <dgm:cxn modelId="{4038CCC7-5D86-4924-930E-C0900EBF7F2E}" type="presParOf" srcId="{C1EDF062-94C3-4A28-AAA5-CA06DC5204E6}" destId="{8CFAFDD7-F7F3-491E-B2F7-328445475E5D}" srcOrd="6" destOrd="0" presId="urn:microsoft.com/office/officeart/2005/8/layout/hProcess9"/>
    <dgm:cxn modelId="{56565DF8-4864-4A10-A295-65889AE92678}" type="presParOf" srcId="{C1EDF062-94C3-4A28-AAA5-CA06DC5204E6}" destId="{5431B9F3-CAEF-40ED-9128-5061EBEC7EB3}" srcOrd="7" destOrd="0" presId="urn:microsoft.com/office/officeart/2005/8/layout/hProcess9"/>
    <dgm:cxn modelId="{838A1667-1191-4522-B4BC-4CD9B1939EDF}" type="presParOf" srcId="{C1EDF062-94C3-4A28-AAA5-CA06DC5204E6}" destId="{005640F4-822C-471E-8D3E-B79919A5A71C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B6C038-BCB6-6341-BCE4-2F421AB6D901}">
      <dsp:nvSpPr>
        <dsp:cNvPr id="0" name=""/>
        <dsp:cNvSpPr/>
      </dsp:nvSpPr>
      <dsp:spPr>
        <a:xfrm>
          <a:off x="210360" y="1017"/>
          <a:ext cx="1157789" cy="5788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0" kern="1200" dirty="0"/>
            <a:t>Strategie &amp; </a:t>
          </a:r>
          <a:br>
            <a:rPr lang="de-DE" sz="1400" b="0" kern="1200" dirty="0"/>
          </a:br>
          <a:r>
            <a:rPr lang="de-DE" sz="1400" b="0" kern="1200" dirty="0"/>
            <a:t>Organisation</a:t>
          </a:r>
        </a:p>
      </dsp:txBody>
      <dsp:txXfrm>
        <a:off x="227315" y="17972"/>
        <a:ext cx="1123879" cy="544984"/>
      </dsp:txXfrm>
    </dsp:sp>
    <dsp:sp modelId="{F5CDB006-D571-954D-94CE-8F49ED6A33B8}">
      <dsp:nvSpPr>
        <dsp:cNvPr id="0" name=""/>
        <dsp:cNvSpPr/>
      </dsp:nvSpPr>
      <dsp:spPr>
        <a:xfrm>
          <a:off x="326139" y="579911"/>
          <a:ext cx="115778" cy="4341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4170"/>
              </a:lnTo>
              <a:lnTo>
                <a:pt x="115778" y="43417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C6859C-B874-DC44-A7E1-51E9A88147E5}">
      <dsp:nvSpPr>
        <dsp:cNvPr id="0" name=""/>
        <dsp:cNvSpPr/>
      </dsp:nvSpPr>
      <dsp:spPr>
        <a:xfrm>
          <a:off x="441918" y="724635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Strategie des </a:t>
          </a:r>
          <a:br>
            <a:rPr lang="de-DE" sz="1000" b="0" kern="1200" dirty="0"/>
          </a:br>
          <a:r>
            <a:rPr lang="de-DE" sz="1000" b="0" kern="1200" dirty="0"/>
            <a:t>Unternehmens</a:t>
          </a:r>
        </a:p>
      </dsp:txBody>
      <dsp:txXfrm>
        <a:off x="458873" y="741590"/>
        <a:ext cx="892321" cy="544984"/>
      </dsp:txXfrm>
    </dsp:sp>
    <dsp:sp modelId="{714B68B3-FBBA-384A-AF82-B9BFEE9D9052}">
      <dsp:nvSpPr>
        <dsp:cNvPr id="0" name=""/>
        <dsp:cNvSpPr/>
      </dsp:nvSpPr>
      <dsp:spPr>
        <a:xfrm>
          <a:off x="326139" y="579911"/>
          <a:ext cx="115778" cy="11577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57789"/>
              </a:lnTo>
              <a:lnTo>
                <a:pt x="115778" y="115778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C1B288-1C1A-BF4D-81DF-70A7F5CF0860}">
      <dsp:nvSpPr>
        <dsp:cNvPr id="0" name=""/>
        <dsp:cNvSpPr/>
      </dsp:nvSpPr>
      <dsp:spPr>
        <a:xfrm>
          <a:off x="441918" y="1448253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Standorte</a:t>
          </a:r>
        </a:p>
      </dsp:txBody>
      <dsp:txXfrm>
        <a:off x="458873" y="1465208"/>
        <a:ext cx="892321" cy="544984"/>
      </dsp:txXfrm>
    </dsp:sp>
    <dsp:sp modelId="{97F2F591-6950-2A41-BEC8-46682B9070FE}">
      <dsp:nvSpPr>
        <dsp:cNvPr id="0" name=""/>
        <dsp:cNvSpPr/>
      </dsp:nvSpPr>
      <dsp:spPr>
        <a:xfrm>
          <a:off x="326139" y="579911"/>
          <a:ext cx="115778" cy="18814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81407"/>
              </a:lnTo>
              <a:lnTo>
                <a:pt x="115778" y="188140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5DC598B-4859-6C42-8FAE-FC1454E10AD8}">
      <dsp:nvSpPr>
        <dsp:cNvPr id="0" name=""/>
        <dsp:cNvSpPr/>
      </dsp:nvSpPr>
      <dsp:spPr>
        <a:xfrm>
          <a:off x="441918" y="2171871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/>
            <a:t>Kompetenz-verteilung</a:t>
          </a:r>
          <a:endParaRPr lang="de-DE" sz="1000" b="0" kern="1200" dirty="0"/>
        </a:p>
      </dsp:txBody>
      <dsp:txXfrm>
        <a:off x="458873" y="2188826"/>
        <a:ext cx="892321" cy="544984"/>
      </dsp:txXfrm>
    </dsp:sp>
    <dsp:sp modelId="{78291BD7-8A7A-D24D-88F3-60175C1A7DC1}">
      <dsp:nvSpPr>
        <dsp:cNvPr id="0" name=""/>
        <dsp:cNvSpPr/>
      </dsp:nvSpPr>
      <dsp:spPr>
        <a:xfrm>
          <a:off x="1657596" y="1017"/>
          <a:ext cx="1157789" cy="5788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Leistung</a:t>
          </a:r>
        </a:p>
      </dsp:txBody>
      <dsp:txXfrm>
        <a:off x="1674551" y="17972"/>
        <a:ext cx="1123879" cy="544984"/>
      </dsp:txXfrm>
    </dsp:sp>
    <dsp:sp modelId="{CC4895DA-7F1D-E143-8072-852349EB24A4}">
      <dsp:nvSpPr>
        <dsp:cNvPr id="0" name=""/>
        <dsp:cNvSpPr/>
      </dsp:nvSpPr>
      <dsp:spPr>
        <a:xfrm>
          <a:off x="1773375" y="579911"/>
          <a:ext cx="115778" cy="4341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4170"/>
              </a:lnTo>
              <a:lnTo>
                <a:pt x="115778" y="43417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A27AEF-5433-4846-8559-C636B5DE159F}">
      <dsp:nvSpPr>
        <dsp:cNvPr id="0" name=""/>
        <dsp:cNvSpPr/>
      </dsp:nvSpPr>
      <dsp:spPr>
        <a:xfrm>
          <a:off x="1889154" y="724635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Sachrisiken</a:t>
          </a:r>
        </a:p>
      </dsp:txBody>
      <dsp:txXfrm>
        <a:off x="1906109" y="741590"/>
        <a:ext cx="892321" cy="544984"/>
      </dsp:txXfrm>
    </dsp:sp>
    <dsp:sp modelId="{26818698-3528-C147-8F2E-68B7A1301A74}">
      <dsp:nvSpPr>
        <dsp:cNvPr id="0" name=""/>
        <dsp:cNvSpPr/>
      </dsp:nvSpPr>
      <dsp:spPr>
        <a:xfrm>
          <a:off x="1773375" y="579911"/>
          <a:ext cx="115778" cy="11577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57789"/>
              </a:lnTo>
              <a:lnTo>
                <a:pt x="115778" y="115778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5B08C6-59FE-FC45-AE74-543A81103A60}">
      <dsp:nvSpPr>
        <dsp:cNvPr id="0" name=""/>
        <dsp:cNvSpPr/>
      </dsp:nvSpPr>
      <dsp:spPr>
        <a:xfrm>
          <a:off x="1889154" y="1448253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Personen-risiken</a:t>
          </a:r>
        </a:p>
      </dsp:txBody>
      <dsp:txXfrm>
        <a:off x="1906109" y="1465208"/>
        <a:ext cx="892321" cy="544984"/>
      </dsp:txXfrm>
    </dsp:sp>
    <dsp:sp modelId="{4DB96CAD-2534-FE48-AC39-0BC7805CB8AA}">
      <dsp:nvSpPr>
        <dsp:cNvPr id="0" name=""/>
        <dsp:cNvSpPr/>
      </dsp:nvSpPr>
      <dsp:spPr>
        <a:xfrm>
          <a:off x="1773375" y="579911"/>
          <a:ext cx="115778" cy="18814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81407"/>
              </a:lnTo>
              <a:lnTo>
                <a:pt x="115778" y="188140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948FDF-3F85-A445-9B2F-1087760FF668}">
      <dsp:nvSpPr>
        <dsp:cNvPr id="0" name=""/>
        <dsp:cNvSpPr/>
      </dsp:nvSpPr>
      <dsp:spPr>
        <a:xfrm>
          <a:off x="1889154" y="2171871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Marktrisiken</a:t>
          </a:r>
        </a:p>
      </dsp:txBody>
      <dsp:txXfrm>
        <a:off x="1906109" y="2188826"/>
        <a:ext cx="892321" cy="544984"/>
      </dsp:txXfrm>
    </dsp:sp>
    <dsp:sp modelId="{330CA7E5-7CD8-ED4E-9647-624109263B25}">
      <dsp:nvSpPr>
        <dsp:cNvPr id="0" name=""/>
        <dsp:cNvSpPr/>
      </dsp:nvSpPr>
      <dsp:spPr>
        <a:xfrm>
          <a:off x="1773375" y="579911"/>
          <a:ext cx="115778" cy="26050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05025"/>
              </a:lnTo>
              <a:lnTo>
                <a:pt x="115778" y="2605025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1B69BF-0024-6246-AA85-3D3C61D31FDA}">
      <dsp:nvSpPr>
        <dsp:cNvPr id="0" name=""/>
        <dsp:cNvSpPr/>
      </dsp:nvSpPr>
      <dsp:spPr>
        <a:xfrm>
          <a:off x="1889154" y="2895490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Gesundheits- und Umwelt-risiken</a:t>
          </a:r>
        </a:p>
      </dsp:txBody>
      <dsp:txXfrm>
        <a:off x="1906109" y="2912445"/>
        <a:ext cx="892321" cy="544984"/>
      </dsp:txXfrm>
    </dsp:sp>
    <dsp:sp modelId="{73723C24-A949-CE44-8C5D-661F69F4B72F}">
      <dsp:nvSpPr>
        <dsp:cNvPr id="0" name=""/>
        <dsp:cNvSpPr/>
      </dsp:nvSpPr>
      <dsp:spPr>
        <a:xfrm>
          <a:off x="3104833" y="1017"/>
          <a:ext cx="1157789" cy="5788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Finanzen</a:t>
          </a:r>
        </a:p>
      </dsp:txBody>
      <dsp:txXfrm>
        <a:off x="3121788" y="17972"/>
        <a:ext cx="1123879" cy="544984"/>
      </dsp:txXfrm>
    </dsp:sp>
    <dsp:sp modelId="{D048CD21-176C-DF4A-83BA-88473161EA9B}">
      <dsp:nvSpPr>
        <dsp:cNvPr id="0" name=""/>
        <dsp:cNvSpPr/>
      </dsp:nvSpPr>
      <dsp:spPr>
        <a:xfrm>
          <a:off x="3220612" y="579911"/>
          <a:ext cx="115778" cy="4341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4170"/>
              </a:lnTo>
              <a:lnTo>
                <a:pt x="115778" y="43417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F0866D-7DB0-BD45-9FB6-118339B5A499}">
      <dsp:nvSpPr>
        <dsp:cNvPr id="0" name=""/>
        <dsp:cNvSpPr/>
      </dsp:nvSpPr>
      <dsp:spPr>
        <a:xfrm>
          <a:off x="3336391" y="724635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Ausfallrisiken</a:t>
          </a:r>
        </a:p>
      </dsp:txBody>
      <dsp:txXfrm>
        <a:off x="3353346" y="741590"/>
        <a:ext cx="892321" cy="544984"/>
      </dsp:txXfrm>
    </dsp:sp>
    <dsp:sp modelId="{926DD9CE-4CEA-434D-9A8A-64A1E56B0E09}">
      <dsp:nvSpPr>
        <dsp:cNvPr id="0" name=""/>
        <dsp:cNvSpPr/>
      </dsp:nvSpPr>
      <dsp:spPr>
        <a:xfrm>
          <a:off x="3220612" y="579911"/>
          <a:ext cx="115778" cy="11577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57789"/>
              </a:lnTo>
              <a:lnTo>
                <a:pt x="115778" y="115778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0AB8A5-0988-CE43-89AA-DEEE97DEDD17}">
      <dsp:nvSpPr>
        <dsp:cNvPr id="0" name=""/>
        <dsp:cNvSpPr/>
      </dsp:nvSpPr>
      <dsp:spPr>
        <a:xfrm>
          <a:off x="3336391" y="1448253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Liquiditäts-risiken</a:t>
          </a:r>
        </a:p>
      </dsp:txBody>
      <dsp:txXfrm>
        <a:off x="3353346" y="1465208"/>
        <a:ext cx="892321" cy="544984"/>
      </dsp:txXfrm>
    </dsp:sp>
    <dsp:sp modelId="{A235B0B9-B30C-D249-A3A1-E96A85B6091D}">
      <dsp:nvSpPr>
        <dsp:cNvPr id="0" name=""/>
        <dsp:cNvSpPr/>
      </dsp:nvSpPr>
      <dsp:spPr>
        <a:xfrm>
          <a:off x="3220612" y="579911"/>
          <a:ext cx="115778" cy="18814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81407"/>
              </a:lnTo>
              <a:lnTo>
                <a:pt x="115778" y="188140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257C21-35A0-F34D-86F2-C33829C8B6F6}">
      <dsp:nvSpPr>
        <dsp:cNvPr id="0" name=""/>
        <dsp:cNvSpPr/>
      </dsp:nvSpPr>
      <dsp:spPr>
        <a:xfrm>
          <a:off x="3336391" y="2171871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Steuerliche Risiken / Tax- Compliance</a:t>
          </a:r>
        </a:p>
      </dsp:txBody>
      <dsp:txXfrm>
        <a:off x="3353346" y="2188826"/>
        <a:ext cx="892321" cy="544984"/>
      </dsp:txXfrm>
    </dsp:sp>
    <dsp:sp modelId="{C6A95AB0-3CDD-6B4F-9A50-83AAFF7EAE71}">
      <dsp:nvSpPr>
        <dsp:cNvPr id="0" name=""/>
        <dsp:cNvSpPr/>
      </dsp:nvSpPr>
      <dsp:spPr>
        <a:xfrm>
          <a:off x="4552069" y="1017"/>
          <a:ext cx="1157789" cy="5788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Recht</a:t>
          </a:r>
        </a:p>
      </dsp:txBody>
      <dsp:txXfrm>
        <a:off x="4569024" y="17972"/>
        <a:ext cx="1123879" cy="544984"/>
      </dsp:txXfrm>
    </dsp:sp>
    <dsp:sp modelId="{C0FC3D16-0144-0843-9593-11C84C5BF610}">
      <dsp:nvSpPr>
        <dsp:cNvPr id="0" name=""/>
        <dsp:cNvSpPr/>
      </dsp:nvSpPr>
      <dsp:spPr>
        <a:xfrm>
          <a:off x="4667848" y="579911"/>
          <a:ext cx="115778" cy="4341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4170"/>
              </a:lnTo>
              <a:lnTo>
                <a:pt x="115778" y="43417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094C76-1F3F-3F47-9081-7B6C354A95CE}">
      <dsp:nvSpPr>
        <dsp:cNvPr id="0" name=""/>
        <dsp:cNvSpPr/>
      </dsp:nvSpPr>
      <dsp:spPr>
        <a:xfrm>
          <a:off x="4783627" y="724635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Gesetzliche Verpflichtung-en, z.B. Datenschutz</a:t>
          </a:r>
        </a:p>
      </dsp:txBody>
      <dsp:txXfrm>
        <a:off x="4800582" y="741590"/>
        <a:ext cx="892321" cy="544984"/>
      </dsp:txXfrm>
    </dsp:sp>
    <dsp:sp modelId="{EAEB3239-12B5-7B4C-B750-BF9EC1E08392}">
      <dsp:nvSpPr>
        <dsp:cNvPr id="0" name=""/>
        <dsp:cNvSpPr/>
      </dsp:nvSpPr>
      <dsp:spPr>
        <a:xfrm>
          <a:off x="4667848" y="579911"/>
          <a:ext cx="115778" cy="11577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57789"/>
              </a:lnTo>
              <a:lnTo>
                <a:pt x="115778" y="115778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A8D3CC-B269-634B-AB55-57B6B948B3BB}">
      <dsp:nvSpPr>
        <dsp:cNvPr id="0" name=""/>
        <dsp:cNvSpPr/>
      </dsp:nvSpPr>
      <dsp:spPr>
        <a:xfrm>
          <a:off x="4783627" y="1448253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Bescheide /</a:t>
          </a:r>
          <a:br>
            <a:rPr lang="de-DE" sz="1000" b="0" kern="1200" dirty="0"/>
          </a:br>
          <a:r>
            <a:rPr lang="de-DE" sz="1000" b="0" kern="1200" dirty="0"/>
            <a:t>Verordnungen</a:t>
          </a:r>
        </a:p>
      </dsp:txBody>
      <dsp:txXfrm>
        <a:off x="4800582" y="1465208"/>
        <a:ext cx="892321" cy="544984"/>
      </dsp:txXfrm>
    </dsp:sp>
    <dsp:sp modelId="{AB6424F3-19D2-B543-963D-662FE6E95D87}">
      <dsp:nvSpPr>
        <dsp:cNvPr id="0" name=""/>
        <dsp:cNvSpPr/>
      </dsp:nvSpPr>
      <dsp:spPr>
        <a:xfrm>
          <a:off x="4667848" y="579911"/>
          <a:ext cx="115778" cy="18814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81407"/>
              </a:lnTo>
              <a:lnTo>
                <a:pt x="115778" y="188140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A42568-3465-5B43-96E8-AAFAA149BD9B}">
      <dsp:nvSpPr>
        <dsp:cNvPr id="0" name=""/>
        <dsp:cNvSpPr/>
      </dsp:nvSpPr>
      <dsp:spPr>
        <a:xfrm>
          <a:off x="4783627" y="2171871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Vertragliche Verpflichtung-en</a:t>
          </a:r>
        </a:p>
      </dsp:txBody>
      <dsp:txXfrm>
        <a:off x="4800582" y="2188826"/>
        <a:ext cx="892321" cy="544984"/>
      </dsp:txXfrm>
    </dsp:sp>
    <dsp:sp modelId="{89C41EA6-ABFD-C642-B50C-475EA919784F}">
      <dsp:nvSpPr>
        <dsp:cNvPr id="0" name=""/>
        <dsp:cNvSpPr/>
      </dsp:nvSpPr>
      <dsp:spPr>
        <a:xfrm>
          <a:off x="5999306" y="1017"/>
          <a:ext cx="1157789" cy="5788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Kodizes &amp;</a:t>
          </a:r>
          <a:br>
            <a:rPr lang="de-DE" sz="1400" kern="1200" dirty="0"/>
          </a:br>
          <a:r>
            <a:rPr lang="de-DE" sz="1400" kern="1200" dirty="0"/>
            <a:t>Standards</a:t>
          </a:r>
        </a:p>
      </dsp:txBody>
      <dsp:txXfrm>
        <a:off x="6016261" y="17972"/>
        <a:ext cx="1123879" cy="544984"/>
      </dsp:txXfrm>
    </dsp:sp>
    <dsp:sp modelId="{D89ACACD-5BE9-6F45-AD77-7A31851FB30F}">
      <dsp:nvSpPr>
        <dsp:cNvPr id="0" name=""/>
        <dsp:cNvSpPr/>
      </dsp:nvSpPr>
      <dsp:spPr>
        <a:xfrm>
          <a:off x="6115084" y="579911"/>
          <a:ext cx="115778" cy="4341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4170"/>
              </a:lnTo>
              <a:lnTo>
                <a:pt x="115778" y="43417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78A672-AF72-E243-A1E9-8AE350252DD8}">
      <dsp:nvSpPr>
        <dsp:cNvPr id="0" name=""/>
        <dsp:cNvSpPr/>
      </dsp:nvSpPr>
      <dsp:spPr>
        <a:xfrm>
          <a:off x="6230863" y="724635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DCGK</a:t>
          </a:r>
        </a:p>
      </dsp:txBody>
      <dsp:txXfrm>
        <a:off x="6247818" y="741590"/>
        <a:ext cx="892321" cy="544984"/>
      </dsp:txXfrm>
    </dsp:sp>
    <dsp:sp modelId="{25E2F62F-9FE8-314F-BB74-016A1BB69577}">
      <dsp:nvSpPr>
        <dsp:cNvPr id="0" name=""/>
        <dsp:cNvSpPr/>
      </dsp:nvSpPr>
      <dsp:spPr>
        <a:xfrm>
          <a:off x="6115084" y="579911"/>
          <a:ext cx="115778" cy="11577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57789"/>
              </a:lnTo>
              <a:lnTo>
                <a:pt x="115778" y="115778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FA317C-7C20-EB4E-998C-82D08F6FF808}">
      <dsp:nvSpPr>
        <dsp:cNvPr id="0" name=""/>
        <dsp:cNvSpPr/>
      </dsp:nvSpPr>
      <dsp:spPr>
        <a:xfrm>
          <a:off x="6230863" y="1448253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Branchen-spezifische Standards</a:t>
          </a:r>
        </a:p>
      </dsp:txBody>
      <dsp:txXfrm>
        <a:off x="6247818" y="1465208"/>
        <a:ext cx="892321" cy="544984"/>
      </dsp:txXfrm>
    </dsp:sp>
    <dsp:sp modelId="{AA651E7D-2CE3-EA48-ADBF-3FC37E9106E9}">
      <dsp:nvSpPr>
        <dsp:cNvPr id="0" name=""/>
        <dsp:cNvSpPr/>
      </dsp:nvSpPr>
      <dsp:spPr>
        <a:xfrm>
          <a:off x="7446542" y="1017"/>
          <a:ext cx="1157789" cy="5788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/>
            <a:t>Grundsätze</a:t>
          </a:r>
        </a:p>
      </dsp:txBody>
      <dsp:txXfrm>
        <a:off x="7463497" y="17972"/>
        <a:ext cx="1123879" cy="544984"/>
      </dsp:txXfrm>
    </dsp:sp>
    <dsp:sp modelId="{91EF8BD4-94CC-D946-B188-E6668A44D9AA}">
      <dsp:nvSpPr>
        <dsp:cNvPr id="0" name=""/>
        <dsp:cNvSpPr/>
      </dsp:nvSpPr>
      <dsp:spPr>
        <a:xfrm>
          <a:off x="7562321" y="579911"/>
          <a:ext cx="115778" cy="43417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4170"/>
              </a:lnTo>
              <a:lnTo>
                <a:pt x="115778" y="43417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21EFED-E196-4E49-9CA1-E0DC5C5728BF}">
      <dsp:nvSpPr>
        <dsp:cNvPr id="0" name=""/>
        <dsp:cNvSpPr/>
      </dsp:nvSpPr>
      <dsp:spPr>
        <a:xfrm>
          <a:off x="7678100" y="724635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Interne Richtlinien</a:t>
          </a:r>
        </a:p>
      </dsp:txBody>
      <dsp:txXfrm>
        <a:off x="7695055" y="741590"/>
        <a:ext cx="892321" cy="544984"/>
      </dsp:txXfrm>
    </dsp:sp>
    <dsp:sp modelId="{4DF9A69E-4378-0C4D-85C0-D9EC50239B96}">
      <dsp:nvSpPr>
        <dsp:cNvPr id="0" name=""/>
        <dsp:cNvSpPr/>
      </dsp:nvSpPr>
      <dsp:spPr>
        <a:xfrm>
          <a:off x="7562321" y="579911"/>
          <a:ext cx="115778" cy="11577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57789"/>
              </a:lnTo>
              <a:lnTo>
                <a:pt x="115778" y="1157789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E1DC85-619B-8745-99FA-2F3691EB5E04}">
      <dsp:nvSpPr>
        <dsp:cNvPr id="0" name=""/>
        <dsp:cNvSpPr/>
      </dsp:nvSpPr>
      <dsp:spPr>
        <a:xfrm>
          <a:off x="7678100" y="1448253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Anweisungen</a:t>
          </a:r>
        </a:p>
      </dsp:txBody>
      <dsp:txXfrm>
        <a:off x="7695055" y="1465208"/>
        <a:ext cx="892321" cy="544984"/>
      </dsp:txXfrm>
    </dsp:sp>
    <dsp:sp modelId="{6FBADA69-1D84-6C4B-B6B6-9ACF160C3973}">
      <dsp:nvSpPr>
        <dsp:cNvPr id="0" name=""/>
        <dsp:cNvSpPr/>
      </dsp:nvSpPr>
      <dsp:spPr>
        <a:xfrm>
          <a:off x="7562321" y="579911"/>
          <a:ext cx="115778" cy="18814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81407"/>
              </a:lnTo>
              <a:lnTo>
                <a:pt x="115778" y="1881407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172400-F687-414B-9AC5-33DD2C2CFAE3}">
      <dsp:nvSpPr>
        <dsp:cNvPr id="0" name=""/>
        <dsp:cNvSpPr/>
      </dsp:nvSpPr>
      <dsp:spPr>
        <a:xfrm>
          <a:off x="7678100" y="2171871"/>
          <a:ext cx="926231" cy="5788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/>
            <a:t>Allg. Verhalten</a:t>
          </a:r>
        </a:p>
      </dsp:txBody>
      <dsp:txXfrm>
        <a:off x="7695055" y="2188826"/>
        <a:ext cx="892321" cy="5449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3237BB-63BE-5A43-9FFD-6F8453A57E03}">
      <dsp:nvSpPr>
        <dsp:cNvPr id="0" name=""/>
        <dsp:cNvSpPr/>
      </dsp:nvSpPr>
      <dsp:spPr>
        <a:xfrm>
          <a:off x="168708" y="890468"/>
          <a:ext cx="8895365" cy="782220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27000">
              <a:schemeClr val="accent1">
                <a:lumMod val="40000"/>
                <a:lumOff val="60000"/>
              </a:schemeClr>
            </a:gs>
            <a:gs pos="32000">
              <a:schemeClr val="accent1">
                <a:lumMod val="95000"/>
                <a:lumOff val="5000"/>
              </a:schemeClr>
            </a:gs>
            <a:gs pos="100000">
              <a:schemeClr val="accent1">
                <a:lumMod val="60000"/>
              </a:schemeClr>
            </a:gs>
          </a:gsLst>
          <a:lin ang="10800000" scaled="1"/>
        </a:gra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254000" bIns="210313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/>
            <a:t>Rechtswirkung</a:t>
          </a:r>
        </a:p>
      </dsp:txBody>
      <dsp:txXfrm>
        <a:off x="168708" y="1086023"/>
        <a:ext cx="8699810" cy="391110"/>
      </dsp:txXfrm>
    </dsp:sp>
    <dsp:sp modelId="{50F3535C-E695-AD42-B3F0-0E0BDB1B8A95}">
      <dsp:nvSpPr>
        <dsp:cNvPr id="0" name=""/>
        <dsp:cNvSpPr/>
      </dsp:nvSpPr>
      <dsp:spPr>
        <a:xfrm>
          <a:off x="171827" y="126700"/>
          <a:ext cx="4294399" cy="835676"/>
        </a:xfrm>
        <a:prstGeom prst="rightArrow">
          <a:avLst>
            <a:gd name="adj1" fmla="val 50000"/>
            <a:gd name="adj2" fmla="val 50000"/>
          </a:avLst>
        </a:prstGeom>
        <a:solidFill>
          <a:schemeClr val="accent5"/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254000" bIns="210313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b="1" kern="1200" dirty="0"/>
            <a:t>Risiko-Management / Compliance im weiteren Sinne</a:t>
          </a:r>
        </a:p>
      </dsp:txBody>
      <dsp:txXfrm>
        <a:off x="171827" y="335619"/>
        <a:ext cx="4085480" cy="417838"/>
      </dsp:txXfrm>
    </dsp:sp>
    <dsp:sp modelId="{B00D48EA-ACFA-1643-963D-D8ECC7609E59}">
      <dsp:nvSpPr>
        <dsp:cNvPr id="0" name=""/>
        <dsp:cNvSpPr/>
      </dsp:nvSpPr>
      <dsp:spPr>
        <a:xfrm>
          <a:off x="3348379" y="427324"/>
          <a:ext cx="5677489" cy="794620"/>
        </a:xfrm>
        <a:prstGeom prst="rightArrow">
          <a:avLst>
            <a:gd name="adj1" fmla="val 50000"/>
            <a:gd name="adj2" fmla="val 50000"/>
          </a:avLst>
        </a:prstGeom>
        <a:solidFill>
          <a:schemeClr val="accent5"/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254000" bIns="210313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/>
            <a:t>Compliance-Management / Compliance im engeren Sinne</a:t>
          </a:r>
        </a:p>
      </dsp:txBody>
      <dsp:txXfrm>
        <a:off x="3348379" y="625979"/>
        <a:ext cx="5478834" cy="3973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3"/>
          </p:nvPr>
        </p:nvSpPr>
        <p:spPr>
          <a:xfrm>
            <a:off x="8612686" y="6450102"/>
            <a:ext cx="521166" cy="107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2B8A1-0CCE-4815-9668-383D7DE7D8B4}" type="slidenum">
              <a:rPr lang="de-DE" sz="900" smtClean="0">
                <a:solidFill>
                  <a:schemeClr val="tx1"/>
                </a:solidFill>
              </a:rPr>
              <a:pPr/>
              <a:t>‹Nr.›</a:t>
            </a:fld>
            <a:endParaRPr lang="de-DE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5917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679575" y="347663"/>
            <a:ext cx="1876425" cy="140652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95209" y="1900317"/>
            <a:ext cx="8337840" cy="438919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5"/>
          </p:nvPr>
        </p:nvSpPr>
        <p:spPr>
          <a:xfrm>
            <a:off x="8612686" y="6450102"/>
            <a:ext cx="521166" cy="107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E82B8A1-0CCE-4815-9668-383D7DE7D8B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0633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accent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76213" indent="-176213" algn="l" defTabSz="914400" rtl="0" eaLnBrk="1" latinLnBrk="0" hangingPunct="1">
      <a:buClr>
        <a:schemeClr val="accent1"/>
      </a:buClr>
      <a:buFont typeface="+mj-lt"/>
      <a:buAutoNum type="arabicPeriod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76213" indent="-176213" algn="l" defTabSz="914400" rtl="0" eaLnBrk="1" latinLnBrk="0" hangingPunct="1">
      <a:buFontTx/>
      <a:buBlip>
        <a:blip r:embed="rId2"/>
      </a:buBlip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452438" indent="-187325" algn="l" defTabSz="914400" rtl="0" eaLnBrk="1" latinLnBrk="0" hangingPunct="1">
      <a:buFontTx/>
      <a:buBlip>
        <a:blip r:embed="rId2"/>
      </a:buBlip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715963" indent="-176213" algn="l" defTabSz="914400" rtl="0" eaLnBrk="1" latinLnBrk="0" hangingPunct="1">
      <a:buFontTx/>
      <a:buBlip>
        <a:blip r:embed="rId2"/>
      </a:buBlip>
      <a:defRPr sz="1100" i="0" kern="1200">
        <a:solidFill>
          <a:schemeClr val="tx1"/>
        </a:solidFill>
        <a:latin typeface="+mn-lt"/>
        <a:ea typeface="+mn-ea"/>
        <a:cs typeface="+mn-cs"/>
      </a:defRPr>
    </a:lvl6pPr>
    <a:lvl7pPr marL="985838" indent="-180975" algn="l" defTabSz="914400" rtl="0" eaLnBrk="1" latinLnBrk="0" hangingPunct="1">
      <a:buFontTx/>
      <a:buBlip>
        <a:blip r:embed="rId2"/>
      </a:buBlip>
      <a:defRPr sz="1100" i="0" kern="1200">
        <a:solidFill>
          <a:schemeClr val="tx1"/>
        </a:solidFill>
        <a:latin typeface="+mn-lt"/>
        <a:ea typeface="+mn-ea"/>
        <a:cs typeface="+mn-cs"/>
      </a:defRPr>
    </a:lvl7pPr>
    <a:lvl8pPr marL="985838" indent="-180975" algn="l" defTabSz="914400" rtl="0" eaLnBrk="1" latinLnBrk="0" hangingPunct="1">
      <a:buFontTx/>
      <a:buBlip>
        <a:blip r:embed="rId2"/>
      </a:buBlip>
      <a:defRPr sz="1100" i="0" kern="1200">
        <a:solidFill>
          <a:schemeClr val="tx1"/>
        </a:solidFill>
        <a:latin typeface="+mn-lt"/>
        <a:ea typeface="+mn-ea"/>
        <a:cs typeface="+mn-cs"/>
      </a:defRPr>
    </a:lvl8pPr>
    <a:lvl9pPr marL="985838" indent="-180975" algn="l" defTabSz="914400" rtl="0" eaLnBrk="1" latinLnBrk="0" hangingPunct="1">
      <a:buFontTx/>
      <a:buBlip>
        <a:blip r:embed="rId2"/>
      </a:buBlip>
      <a:defRPr sz="1100" i="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5483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>
            <a:extLst>
              <a:ext uri="{FF2B5EF4-FFF2-40B4-BE49-F238E27FC236}">
                <a16:creationId xmlns:a16="http://schemas.microsoft.com/office/drawing/2014/main" xmlns="" id="{6EB799B4-EC78-4116-A0A3-3DE4095E5D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2291" y="-5115"/>
            <a:ext cx="8537034" cy="5691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-8466" y="-8468"/>
            <a:ext cx="9169804" cy="6874935"/>
            <a:chOff x="-8466" y="-8468"/>
            <a:chExt cx="9169804" cy="6874935"/>
          </a:xfrm>
        </p:grpSpPr>
        <p:cxnSp>
          <p:nvCxnSpPr>
            <p:cNvPr id="17" name="Straight Connector 16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eform 18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19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20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21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Freeform 22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Freeform 23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24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Freeform 2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" y="5752410"/>
            <a:ext cx="6981586" cy="648390"/>
          </a:xfrm>
        </p:spPr>
        <p:txBody>
          <a:bodyPr anchor="b">
            <a:no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xmlns="" id="{925323E6-79EA-494A-8C6F-A0BD757D1F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" y="6309358"/>
            <a:ext cx="6981586" cy="362300"/>
          </a:xfrm>
        </p:spPr>
        <p:txBody>
          <a:bodyPr anchor="t"/>
          <a:lstStyle>
            <a:lvl1pPr marL="0" indent="0" algn="ctr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Master-Untertitelformat bearbeiten</a:t>
            </a:r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3E4646C1-9DC2-40BB-A5FE-99CF6E075E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4081" y="0"/>
            <a:ext cx="1889166" cy="1093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74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872" y="1375154"/>
            <a:ext cx="6072182" cy="2257046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207061" y="3632200"/>
            <a:ext cx="541980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5585" y="4359215"/>
            <a:ext cx="634771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Box 23"/>
          <p:cNvSpPr txBox="1"/>
          <p:nvPr/>
        </p:nvSpPr>
        <p:spPr>
          <a:xfrm>
            <a:off x="478612" y="1738029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853686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xmlns="" id="{3888B75A-4F12-40A1-A2CE-8EB6DFF8871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15585" y="6276193"/>
            <a:ext cx="6381825" cy="246677"/>
          </a:xfrm>
        </p:spPr>
        <p:txBody>
          <a:bodyPr/>
          <a:lstStyle/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  <p:sp>
        <p:nvSpPr>
          <p:cNvPr id="12" name="Foliennummernplatzhalter 3">
            <a:extLst>
              <a:ext uri="{FF2B5EF4-FFF2-40B4-BE49-F238E27FC236}">
                <a16:creationId xmlns:a16="http://schemas.microsoft.com/office/drawing/2014/main" xmlns="" id="{220E6FEF-02A5-46FD-B3E1-4C413F9B2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29548" y="114938"/>
            <a:ext cx="541514" cy="365125"/>
          </a:xfrm>
        </p:spPr>
        <p:txBody>
          <a:bodyPr/>
          <a:lstStyle/>
          <a:p>
            <a:r>
              <a:rPr lang="de-DE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0944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-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66B0EF1F-6296-4C21-923D-D291D4611DB4}"/>
              </a:ext>
            </a:extLst>
          </p:cNvPr>
          <p:cNvGrpSpPr/>
          <p:nvPr userDrawn="1"/>
        </p:nvGrpSpPr>
        <p:grpSpPr>
          <a:xfrm>
            <a:off x="-8466" y="-8468"/>
            <a:ext cx="9169804" cy="6874935"/>
            <a:chOff x="-8466" y="-8468"/>
            <a:chExt cx="9169804" cy="6874935"/>
          </a:xfrm>
        </p:grpSpPr>
        <p:cxnSp>
          <p:nvCxnSpPr>
            <p:cNvPr id="8" name="Straight Connector 16">
              <a:extLst>
                <a:ext uri="{FF2B5EF4-FFF2-40B4-BE49-F238E27FC236}">
                  <a16:creationId xmlns:a16="http://schemas.microsoft.com/office/drawing/2014/main" xmlns="" id="{4C91A462-A70F-42B4-B7A4-F445EC509309}"/>
                </a:ext>
              </a:extLst>
            </p:cNvPr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17">
              <a:extLst>
                <a:ext uri="{FF2B5EF4-FFF2-40B4-BE49-F238E27FC236}">
                  <a16:creationId xmlns:a16="http://schemas.microsoft.com/office/drawing/2014/main" xmlns="" id="{CEBB2F59-C9B5-4D6E-A202-2A5F5BB527A7}"/>
                </a:ext>
              </a:extLst>
            </p:cNvPr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xmlns="" id="{DE5362C6-AE02-4AE7-84AF-016E9933FE55}"/>
                </a:ext>
              </a:extLst>
            </p:cNvPr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9">
              <a:extLst>
                <a:ext uri="{FF2B5EF4-FFF2-40B4-BE49-F238E27FC236}">
                  <a16:creationId xmlns:a16="http://schemas.microsoft.com/office/drawing/2014/main" xmlns="" id="{B2C8A11B-E4CF-4A75-818E-EFDD4E1A7584}"/>
                </a:ext>
              </a:extLst>
            </p:cNvPr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xmlns="" id="{FE23EAEF-51FB-4F6F-A665-1707E0AE4BEA}"/>
                </a:ext>
              </a:extLst>
            </p:cNvPr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21">
              <a:extLst>
                <a:ext uri="{FF2B5EF4-FFF2-40B4-BE49-F238E27FC236}">
                  <a16:creationId xmlns:a16="http://schemas.microsoft.com/office/drawing/2014/main" xmlns="" id="{95FBABB9-B446-4D36-ABAD-0FD04798D703}"/>
                </a:ext>
              </a:extLst>
            </p:cNvPr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xmlns="" id="{1C9A552D-9397-4F41-9619-87F862B9729B}"/>
                </a:ext>
              </a:extLst>
            </p:cNvPr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23">
              <a:extLst>
                <a:ext uri="{FF2B5EF4-FFF2-40B4-BE49-F238E27FC236}">
                  <a16:creationId xmlns:a16="http://schemas.microsoft.com/office/drawing/2014/main" xmlns="" id="{7F2F5C54-537B-45CE-8AD5-0621C6E22558}"/>
                </a:ext>
              </a:extLst>
            </p:cNvPr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24">
              <a:extLst>
                <a:ext uri="{FF2B5EF4-FFF2-40B4-BE49-F238E27FC236}">
                  <a16:creationId xmlns:a16="http://schemas.microsoft.com/office/drawing/2014/main" xmlns="" id="{F327A1A5-C4CA-4756-8862-087CB7B6A5CB}"/>
                </a:ext>
              </a:extLst>
            </p:cNvPr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xmlns="" id="{7E55C2F0-289E-4239-824A-04497D80A73D}"/>
                </a:ext>
              </a:extLst>
            </p:cNvPr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5584" y="2700868"/>
            <a:ext cx="6381825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5585" y="4527448"/>
            <a:ext cx="639875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xmlns="" id="{A5191BA6-95F1-4B24-B82F-CFDA83229B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5147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2B8A1-0CCE-4815-9668-383D7DE7D8B4}" type="slidenum">
              <a:rPr lang="de-DE" smtClean="0"/>
              <a:t>‹Nr.›</a:t>
            </a:fld>
            <a:endParaRPr lang="de-DE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A291A4A3-6844-4DC4-8BA0-2E92BE938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146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C89633F9-6D24-42BC-8F62-F9E0E8FFD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4840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F89EF1B-A466-4B1B-A91F-96E449D07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1C637410-057D-4925-BF84-AB4BCC296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FD0EF821-916A-4B7A-AD28-BCF8C5DEBA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EDC9B88A-E035-4E56-A29D-B4DC672A50E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0D20DFDE-3D41-444D-9BB8-4AA7D16C92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5" y="1990725"/>
            <a:ext cx="6388570" cy="424019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43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61524FF-6D41-425E-92CE-98D5FF969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7F4C9CEE-930A-43AE-913B-EADC1461E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99FD4C8A-FFDF-40FE-A9CC-20D128A810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4AD937F1-99C4-43DD-BDF9-E0B5194FE2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778FA050-23AF-452B-8200-0FA241FBD7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8839" y="2144892"/>
            <a:ext cx="3088109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xmlns="" id="{5102BBCB-3CA1-41D5-9502-D6B027CEF3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968443" y="2144893"/>
            <a:ext cx="3088110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3145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36AB65C-9A51-4F8F-9A8C-F080C8792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E9462E5C-4C70-4EBB-BE30-54588BE89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A4A5AF55-7E50-4312-B88F-4B4B5D8DEF8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E226B03-8480-48A6-8294-9BD614D0B8F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18537FFE-2CF4-4F0B-9643-8982007A8B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5585" y="2145089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xmlns="" id="{D11B2376-B5B1-4DF5-91D5-1926CC80E6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5585" y="2721352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xmlns="" id="{C49E47D1-CCC6-4342-945A-91265652E2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972626" y="2145089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xmlns="" id="{8C96DB9F-5776-465F-A957-1E380C50C6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972626" y="2721352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081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1332E15-99D8-494D-8714-690394A0A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0D7A539E-3771-441E-B4B7-25EB68C06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049784F3-D577-4F98-ACA0-87A16AD71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xmlns="" id="{AE0FBBB9-6652-486E-A36E-C9A2DEA746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15585" y="6276193"/>
            <a:ext cx="6381825" cy="246677"/>
          </a:xfrm>
        </p:spPr>
        <p:txBody>
          <a:bodyPr/>
          <a:lstStyle/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6517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99" y="1463742"/>
            <a:ext cx="2790182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6075" y="480063"/>
            <a:ext cx="3386037" cy="5526437"/>
          </a:xfrm>
        </p:spPr>
        <p:txBody>
          <a:bodyPr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399" y="2742207"/>
            <a:ext cx="2790182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xmlns="" id="{363CC809-8119-4A54-AAFC-EC191739D3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715585" y="6276193"/>
            <a:ext cx="6381825" cy="246677"/>
          </a:xfrm>
        </p:spPr>
        <p:txBody>
          <a:bodyPr/>
          <a:lstStyle/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xmlns="" id="{F86CF85A-514D-4AE0-9B47-91E5F01E6D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29548" y="114938"/>
            <a:ext cx="541514" cy="365125"/>
          </a:xfrm>
        </p:spPr>
        <p:txBody>
          <a:bodyPr/>
          <a:lstStyle/>
          <a:p>
            <a:r>
              <a:rPr lang="de-DE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7712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D52F2B03-B6EE-426A-A806-79462083F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E9A31FCF-B72B-4150-A25D-D1BBAE7928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/>
              <a:t> |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xmlns="" id="{3A3AAB85-4A94-4886-8C70-DC3253117C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15585" y="6276193"/>
            <a:ext cx="6381825" cy="246677"/>
          </a:xfrm>
        </p:spPr>
        <p:txBody>
          <a:bodyPr/>
          <a:lstStyle/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7172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.wmf"/><Relationship Id="rId5" Type="http://schemas.openxmlformats.org/officeDocument/2006/relationships/slideLayout" Target="../slideLayouts/slideLayout8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8467" y="-8468"/>
            <a:ext cx="9169805" cy="6874935"/>
            <a:chOff x="-8467" y="-8468"/>
            <a:chExt cx="9169805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900" y="1133102"/>
            <a:ext cx="6347714" cy="7612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3424" y="2160590"/>
            <a:ext cx="6347714" cy="40703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56291" y="6541454"/>
            <a:ext cx="761673" cy="246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0440" y="6458028"/>
            <a:ext cx="5415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373191A3-13E7-4CA2-9E9D-69831482D80B}"/>
              </a:ext>
            </a:extLst>
          </p:cNvPr>
          <p:cNvGrpSpPr/>
          <p:nvPr userDrawn="1"/>
        </p:nvGrpSpPr>
        <p:grpSpPr>
          <a:xfrm>
            <a:off x="-298450" y="-323850"/>
            <a:ext cx="9740900" cy="7505700"/>
            <a:chOff x="-298450" y="-323850"/>
            <a:chExt cx="9740900" cy="7505700"/>
          </a:xfrm>
        </p:grpSpPr>
        <p:cxnSp>
          <p:nvCxnSpPr>
            <p:cNvPr id="21" name="Gerade Verbindung 36">
              <a:extLst>
                <a:ext uri="{FF2B5EF4-FFF2-40B4-BE49-F238E27FC236}">
                  <a16:creationId xmlns:a16="http://schemas.microsoft.com/office/drawing/2014/main" xmlns="" id="{66969A6A-E573-4BD2-8082-0E196AA258F9}"/>
                </a:ext>
              </a:extLst>
            </p:cNvPr>
            <p:cNvCxnSpPr/>
            <p:nvPr userDrawn="1"/>
          </p:nvCxnSpPr>
          <p:spPr bwMode="gray">
            <a:xfrm flipH="1">
              <a:off x="9239250" y="6167437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70">
              <a:extLst>
                <a:ext uri="{FF2B5EF4-FFF2-40B4-BE49-F238E27FC236}">
                  <a16:creationId xmlns:a16="http://schemas.microsoft.com/office/drawing/2014/main" xmlns="" id="{C2A1F652-7275-451F-B9D6-2624334C846A}"/>
                </a:ext>
              </a:extLst>
            </p:cNvPr>
            <p:cNvCxnSpPr/>
            <p:nvPr userDrawn="1"/>
          </p:nvCxnSpPr>
          <p:spPr bwMode="gray">
            <a:xfrm rot="5400000" flipH="1">
              <a:off x="645758" y="-222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70">
              <a:extLst>
                <a:ext uri="{FF2B5EF4-FFF2-40B4-BE49-F238E27FC236}">
                  <a16:creationId xmlns:a16="http://schemas.microsoft.com/office/drawing/2014/main" xmlns="" id="{75EBE054-093D-44FD-84B9-9F8A1AD5BA12}"/>
                </a:ext>
              </a:extLst>
            </p:cNvPr>
            <p:cNvCxnSpPr/>
            <p:nvPr userDrawn="1"/>
          </p:nvCxnSpPr>
          <p:spPr bwMode="gray">
            <a:xfrm rot="5400000" flipH="1">
              <a:off x="645758" y="7080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6">
              <a:extLst>
                <a:ext uri="{FF2B5EF4-FFF2-40B4-BE49-F238E27FC236}">
                  <a16:creationId xmlns:a16="http://schemas.microsoft.com/office/drawing/2014/main" xmlns="" id="{16CBC885-D004-461F-96E5-284A8210FDAE}"/>
                </a:ext>
              </a:extLst>
            </p:cNvPr>
            <p:cNvCxnSpPr/>
            <p:nvPr userDrawn="1"/>
          </p:nvCxnSpPr>
          <p:spPr bwMode="gray">
            <a:xfrm flipH="1">
              <a:off x="-298450" y="6167437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6">
              <a:extLst>
                <a:ext uri="{FF2B5EF4-FFF2-40B4-BE49-F238E27FC236}">
                  <a16:creationId xmlns:a16="http://schemas.microsoft.com/office/drawing/2014/main" xmlns="" id="{78FC3E9B-8C72-4763-8993-EC90906FF0AC}"/>
                </a:ext>
              </a:extLst>
            </p:cNvPr>
            <p:cNvCxnSpPr/>
            <p:nvPr userDrawn="1"/>
          </p:nvCxnSpPr>
          <p:spPr bwMode="gray">
            <a:xfrm flipH="1">
              <a:off x="9239250" y="1702395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>
              <a:extLst>
                <a:ext uri="{FF2B5EF4-FFF2-40B4-BE49-F238E27FC236}">
                  <a16:creationId xmlns:a16="http://schemas.microsoft.com/office/drawing/2014/main" xmlns="" id="{41A6EC75-9BD4-44C4-ADD4-6E479D7814AB}"/>
                </a:ext>
              </a:extLst>
            </p:cNvPr>
            <p:cNvCxnSpPr/>
            <p:nvPr userDrawn="1"/>
          </p:nvCxnSpPr>
          <p:spPr bwMode="gray">
            <a:xfrm flipH="1">
              <a:off x="-298450" y="1702395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70">
              <a:extLst>
                <a:ext uri="{FF2B5EF4-FFF2-40B4-BE49-F238E27FC236}">
                  <a16:creationId xmlns:a16="http://schemas.microsoft.com/office/drawing/2014/main" xmlns="" id="{CE39B5E9-C016-49E8-AB80-ECA9169DB8E5}"/>
                </a:ext>
              </a:extLst>
            </p:cNvPr>
            <p:cNvCxnSpPr/>
            <p:nvPr userDrawn="1"/>
          </p:nvCxnSpPr>
          <p:spPr bwMode="gray">
            <a:xfrm rot="5400000" flipH="1">
              <a:off x="7194550" y="-222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xmlns="" id="{83650BEC-574A-4A93-BB29-F0954DDD2600}"/>
                </a:ext>
              </a:extLst>
            </p:cNvPr>
            <p:cNvCxnSpPr/>
            <p:nvPr userDrawn="1"/>
          </p:nvCxnSpPr>
          <p:spPr bwMode="gray">
            <a:xfrm rot="5400000" flipH="1">
              <a:off x="7194550" y="7080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6">
              <a:extLst>
                <a:ext uri="{FF2B5EF4-FFF2-40B4-BE49-F238E27FC236}">
                  <a16:creationId xmlns:a16="http://schemas.microsoft.com/office/drawing/2014/main" xmlns="" id="{A29C9B72-A49C-4D4E-9B08-2DFD07BA1B50}"/>
                </a:ext>
              </a:extLst>
            </p:cNvPr>
            <p:cNvCxnSpPr/>
            <p:nvPr userDrawn="1"/>
          </p:nvCxnSpPr>
          <p:spPr bwMode="gray">
            <a:xfrm flipH="1">
              <a:off x="9239250" y="1033463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6">
              <a:extLst>
                <a:ext uri="{FF2B5EF4-FFF2-40B4-BE49-F238E27FC236}">
                  <a16:creationId xmlns:a16="http://schemas.microsoft.com/office/drawing/2014/main" xmlns="" id="{216267E6-CC2A-4DD1-B061-3B6445FBD576}"/>
                </a:ext>
              </a:extLst>
            </p:cNvPr>
            <p:cNvCxnSpPr/>
            <p:nvPr userDrawn="1"/>
          </p:nvCxnSpPr>
          <p:spPr bwMode="gray">
            <a:xfrm flipH="1">
              <a:off x="-298450" y="1033463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0">
              <a:extLst>
                <a:ext uri="{FF2B5EF4-FFF2-40B4-BE49-F238E27FC236}">
                  <a16:creationId xmlns:a16="http://schemas.microsoft.com/office/drawing/2014/main" xmlns="" id="{3D0A06B7-96AE-4F5A-82F1-7AE35C67659F}"/>
                </a:ext>
              </a:extLst>
            </p:cNvPr>
            <p:cNvCxnSpPr/>
            <p:nvPr userDrawn="1"/>
          </p:nvCxnSpPr>
          <p:spPr bwMode="gray">
            <a:xfrm rot="5400000" flipH="1">
              <a:off x="7964205" y="-222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0">
              <a:extLst>
                <a:ext uri="{FF2B5EF4-FFF2-40B4-BE49-F238E27FC236}">
                  <a16:creationId xmlns:a16="http://schemas.microsoft.com/office/drawing/2014/main" xmlns="" id="{A4CCADDE-01CE-4279-AC5A-7C9D8B59F9D8}"/>
                </a:ext>
              </a:extLst>
            </p:cNvPr>
            <p:cNvCxnSpPr/>
            <p:nvPr userDrawn="1"/>
          </p:nvCxnSpPr>
          <p:spPr bwMode="gray">
            <a:xfrm rot="5400000" flipH="1">
              <a:off x="7964205" y="7080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xmlns="" id="{684CDFA5-BB64-4500-A434-8F0F5222A3EE}"/>
              </a:ext>
            </a:extLst>
          </p:cNvPr>
          <p:cNvSpPr txBox="1"/>
          <p:nvPr userDrawn="1"/>
        </p:nvSpPr>
        <p:spPr bwMode="gray">
          <a:xfrm>
            <a:off x="732042" y="6624433"/>
            <a:ext cx="204233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de-DE" sz="1000" b="1" dirty="0">
                <a:latin typeface="+mj-lt"/>
              </a:rPr>
              <a:t>© Leu Rechtsanwaltsgesellschaft mbH 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xmlns="" id="{2BF31854-ACCD-40A0-90F9-BFB1B8B9B93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183" y="171737"/>
            <a:ext cx="1317719" cy="761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019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51" r:id="rId2"/>
    <p:sldLayoutId id="2147483755" r:id="rId3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>
            <a:extLst>
              <a:ext uri="{FF2B5EF4-FFF2-40B4-BE49-F238E27FC236}">
                <a16:creationId xmlns:a16="http://schemas.microsoft.com/office/drawing/2014/main" xmlns="" id="{62C04B10-E847-4198-AB03-336C836EDF40}"/>
              </a:ext>
            </a:extLst>
          </p:cNvPr>
          <p:cNvSpPr/>
          <p:nvPr userDrawn="1"/>
        </p:nvSpPr>
        <p:spPr>
          <a:xfrm>
            <a:off x="0" y="6284925"/>
            <a:ext cx="652108" cy="5730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Rechtwinkliges Dreieck 52">
            <a:extLst>
              <a:ext uri="{FF2B5EF4-FFF2-40B4-BE49-F238E27FC236}">
                <a16:creationId xmlns:a16="http://schemas.microsoft.com/office/drawing/2014/main" xmlns="" id="{6E2FF97E-EA9B-4834-8B36-862D52BF4E43}"/>
              </a:ext>
            </a:extLst>
          </p:cNvPr>
          <p:cNvSpPr/>
          <p:nvPr userDrawn="1"/>
        </p:nvSpPr>
        <p:spPr>
          <a:xfrm>
            <a:off x="-1" y="5309684"/>
            <a:ext cx="652110" cy="981066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1" name="Objekt 50">
            <a:extLst>
              <a:ext uri="{FF2B5EF4-FFF2-40B4-BE49-F238E27FC236}">
                <a16:creationId xmlns:a16="http://schemas.microsoft.com/office/drawing/2014/main" xmlns="" id="{ED048AD5-5206-4E4F-85F7-A1114550D09C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824872332"/>
              </p:ext>
            </p:extLst>
          </p:nvPr>
        </p:nvGraphicFramePr>
        <p:xfrm>
          <a:off x="5710150" y="0"/>
          <a:ext cx="3433850" cy="685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2" r:id="rId10" imgW="4469760" imgH="8913960" progId="">
                  <p:embed/>
                </p:oleObj>
              </mc:Choice>
              <mc:Fallback>
                <p:oleObj r:id="rId10" imgW="4469760" imgH="8913960" progId="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5710150" y="0"/>
                        <a:ext cx="3433850" cy="6858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8839" y="1133102"/>
            <a:ext cx="6388570" cy="7612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5584" y="2159605"/>
            <a:ext cx="6381825" cy="40703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94491" y="6541454"/>
            <a:ext cx="761673" cy="246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9548" y="114938"/>
            <a:ext cx="5415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</a:t>
            </a:r>
            <a:fld id="{CE82B8A1-0CCE-4815-9668-383D7DE7D8B4}" type="slidenum">
              <a:rPr lang="de-DE" smtClean="0"/>
              <a:pPr/>
              <a:t>‹Nr.›</a:t>
            </a:fld>
            <a:r>
              <a:rPr lang="de-DE" dirty="0"/>
              <a:t> |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373191A3-13E7-4CA2-9E9D-69831482D80B}"/>
              </a:ext>
            </a:extLst>
          </p:cNvPr>
          <p:cNvGrpSpPr/>
          <p:nvPr userDrawn="1"/>
        </p:nvGrpSpPr>
        <p:grpSpPr>
          <a:xfrm>
            <a:off x="-298450" y="-323850"/>
            <a:ext cx="9740900" cy="7505700"/>
            <a:chOff x="-298450" y="-323850"/>
            <a:chExt cx="9740900" cy="7505700"/>
          </a:xfrm>
        </p:grpSpPr>
        <p:cxnSp>
          <p:nvCxnSpPr>
            <p:cNvPr id="21" name="Gerade Verbindung 36">
              <a:extLst>
                <a:ext uri="{FF2B5EF4-FFF2-40B4-BE49-F238E27FC236}">
                  <a16:creationId xmlns:a16="http://schemas.microsoft.com/office/drawing/2014/main" xmlns="" id="{66969A6A-E573-4BD2-8082-0E196AA258F9}"/>
                </a:ext>
              </a:extLst>
            </p:cNvPr>
            <p:cNvCxnSpPr/>
            <p:nvPr userDrawn="1"/>
          </p:nvCxnSpPr>
          <p:spPr bwMode="gray">
            <a:xfrm flipH="1">
              <a:off x="9239250" y="6167437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70">
              <a:extLst>
                <a:ext uri="{FF2B5EF4-FFF2-40B4-BE49-F238E27FC236}">
                  <a16:creationId xmlns:a16="http://schemas.microsoft.com/office/drawing/2014/main" xmlns="" id="{C2A1F652-7275-451F-B9D6-2624334C846A}"/>
                </a:ext>
              </a:extLst>
            </p:cNvPr>
            <p:cNvCxnSpPr/>
            <p:nvPr userDrawn="1"/>
          </p:nvCxnSpPr>
          <p:spPr bwMode="gray">
            <a:xfrm rot="5400000" flipH="1">
              <a:off x="645758" y="-222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70">
              <a:extLst>
                <a:ext uri="{FF2B5EF4-FFF2-40B4-BE49-F238E27FC236}">
                  <a16:creationId xmlns:a16="http://schemas.microsoft.com/office/drawing/2014/main" xmlns="" id="{75EBE054-093D-44FD-84B9-9F8A1AD5BA12}"/>
                </a:ext>
              </a:extLst>
            </p:cNvPr>
            <p:cNvCxnSpPr/>
            <p:nvPr userDrawn="1"/>
          </p:nvCxnSpPr>
          <p:spPr bwMode="gray">
            <a:xfrm rot="5400000" flipH="1">
              <a:off x="645758" y="7080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36">
              <a:extLst>
                <a:ext uri="{FF2B5EF4-FFF2-40B4-BE49-F238E27FC236}">
                  <a16:creationId xmlns:a16="http://schemas.microsoft.com/office/drawing/2014/main" xmlns="" id="{16CBC885-D004-461F-96E5-284A8210FDAE}"/>
                </a:ext>
              </a:extLst>
            </p:cNvPr>
            <p:cNvCxnSpPr/>
            <p:nvPr userDrawn="1"/>
          </p:nvCxnSpPr>
          <p:spPr bwMode="gray">
            <a:xfrm flipH="1">
              <a:off x="-298450" y="6167437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6">
              <a:extLst>
                <a:ext uri="{FF2B5EF4-FFF2-40B4-BE49-F238E27FC236}">
                  <a16:creationId xmlns:a16="http://schemas.microsoft.com/office/drawing/2014/main" xmlns="" id="{78FC3E9B-8C72-4763-8993-EC90906FF0AC}"/>
                </a:ext>
              </a:extLst>
            </p:cNvPr>
            <p:cNvCxnSpPr/>
            <p:nvPr userDrawn="1"/>
          </p:nvCxnSpPr>
          <p:spPr bwMode="gray">
            <a:xfrm flipH="1">
              <a:off x="9239250" y="1702395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>
              <a:extLst>
                <a:ext uri="{FF2B5EF4-FFF2-40B4-BE49-F238E27FC236}">
                  <a16:creationId xmlns:a16="http://schemas.microsoft.com/office/drawing/2014/main" xmlns="" id="{41A6EC75-9BD4-44C4-ADD4-6E479D7814AB}"/>
                </a:ext>
              </a:extLst>
            </p:cNvPr>
            <p:cNvCxnSpPr/>
            <p:nvPr userDrawn="1"/>
          </p:nvCxnSpPr>
          <p:spPr bwMode="gray">
            <a:xfrm flipH="1">
              <a:off x="-298450" y="1702395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70">
              <a:extLst>
                <a:ext uri="{FF2B5EF4-FFF2-40B4-BE49-F238E27FC236}">
                  <a16:creationId xmlns:a16="http://schemas.microsoft.com/office/drawing/2014/main" xmlns="" id="{CE39B5E9-C016-49E8-AB80-ECA9169DB8E5}"/>
                </a:ext>
              </a:extLst>
            </p:cNvPr>
            <p:cNvCxnSpPr/>
            <p:nvPr userDrawn="1"/>
          </p:nvCxnSpPr>
          <p:spPr bwMode="gray">
            <a:xfrm rot="5400000" flipH="1">
              <a:off x="7194550" y="-222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xmlns="" id="{83650BEC-574A-4A93-BB29-F0954DDD2600}"/>
                </a:ext>
              </a:extLst>
            </p:cNvPr>
            <p:cNvCxnSpPr/>
            <p:nvPr userDrawn="1"/>
          </p:nvCxnSpPr>
          <p:spPr bwMode="gray">
            <a:xfrm rot="5400000" flipH="1">
              <a:off x="7194550" y="7080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6">
              <a:extLst>
                <a:ext uri="{FF2B5EF4-FFF2-40B4-BE49-F238E27FC236}">
                  <a16:creationId xmlns:a16="http://schemas.microsoft.com/office/drawing/2014/main" xmlns="" id="{A29C9B72-A49C-4D4E-9B08-2DFD07BA1B50}"/>
                </a:ext>
              </a:extLst>
            </p:cNvPr>
            <p:cNvCxnSpPr/>
            <p:nvPr userDrawn="1"/>
          </p:nvCxnSpPr>
          <p:spPr bwMode="gray">
            <a:xfrm flipH="1">
              <a:off x="9239250" y="1033463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6">
              <a:extLst>
                <a:ext uri="{FF2B5EF4-FFF2-40B4-BE49-F238E27FC236}">
                  <a16:creationId xmlns:a16="http://schemas.microsoft.com/office/drawing/2014/main" xmlns="" id="{216267E6-CC2A-4DD1-B061-3B6445FBD576}"/>
                </a:ext>
              </a:extLst>
            </p:cNvPr>
            <p:cNvCxnSpPr/>
            <p:nvPr userDrawn="1"/>
          </p:nvCxnSpPr>
          <p:spPr bwMode="gray">
            <a:xfrm flipH="1">
              <a:off x="-298450" y="1033463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0">
              <a:extLst>
                <a:ext uri="{FF2B5EF4-FFF2-40B4-BE49-F238E27FC236}">
                  <a16:creationId xmlns:a16="http://schemas.microsoft.com/office/drawing/2014/main" xmlns="" id="{3D0A06B7-96AE-4F5A-82F1-7AE35C67659F}"/>
                </a:ext>
              </a:extLst>
            </p:cNvPr>
            <p:cNvCxnSpPr/>
            <p:nvPr userDrawn="1"/>
          </p:nvCxnSpPr>
          <p:spPr bwMode="gray">
            <a:xfrm rot="5400000" flipH="1">
              <a:off x="7964205" y="-222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0">
              <a:extLst>
                <a:ext uri="{FF2B5EF4-FFF2-40B4-BE49-F238E27FC236}">
                  <a16:creationId xmlns:a16="http://schemas.microsoft.com/office/drawing/2014/main" xmlns="" id="{A4CCADDE-01CE-4279-AC5A-7C9D8B59F9D8}"/>
                </a:ext>
              </a:extLst>
            </p:cNvPr>
            <p:cNvCxnSpPr/>
            <p:nvPr userDrawn="1"/>
          </p:nvCxnSpPr>
          <p:spPr bwMode="gray">
            <a:xfrm rot="5400000" flipH="1">
              <a:off x="7964205" y="7080250"/>
              <a:ext cx="20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feld 33">
            <a:extLst>
              <a:ext uri="{FF2B5EF4-FFF2-40B4-BE49-F238E27FC236}">
                <a16:creationId xmlns:a16="http://schemas.microsoft.com/office/drawing/2014/main" xmlns="" id="{684CDFA5-BB64-4500-A434-8F0F5222A3EE}"/>
              </a:ext>
            </a:extLst>
          </p:cNvPr>
          <p:cNvSpPr txBox="1"/>
          <p:nvPr userDrawn="1"/>
        </p:nvSpPr>
        <p:spPr bwMode="gray">
          <a:xfrm>
            <a:off x="728307" y="6627178"/>
            <a:ext cx="243398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buClr>
                <a:schemeClr val="bg2"/>
              </a:buClr>
              <a:buFont typeface="Wingdings" panose="05000000000000000000" pitchFamily="2" charset="2"/>
              <a:buNone/>
            </a:pPr>
            <a:r>
              <a:rPr lang="de-DE" sz="1000" b="1" dirty="0">
                <a:latin typeface="+mj-lt"/>
              </a:rPr>
              <a:t>© Leu Rechtsanwaltsgesellschaft mbH 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xmlns="" id="{111A04D8-8412-4B9D-97EE-318A292BB7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033" y="171737"/>
            <a:ext cx="1317719" cy="761263"/>
          </a:xfrm>
          <a:prstGeom prst="rect">
            <a:avLst/>
          </a:prstGeom>
        </p:spPr>
      </p:pic>
      <p:sp>
        <p:nvSpPr>
          <p:cNvPr id="57" name="Footer Placeholder 4">
            <a:extLst>
              <a:ext uri="{FF2B5EF4-FFF2-40B4-BE49-F238E27FC236}">
                <a16:creationId xmlns:a16="http://schemas.microsoft.com/office/drawing/2014/main" xmlns="" id="{21D3A6F8-0CBF-41F3-9AC1-3295263BBC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ganzheitliches Compliance-Risko-Management - Münchenstift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5659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5" r:id="rId4"/>
    <p:sldLayoutId id="2147483793" r:id="rId5"/>
    <p:sldLayoutId id="2147483799" r:id="rId6"/>
    <p:sldLayoutId id="2147483794" r:id="rId7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90A61547-2555-4DE2-A37F-A53E5491744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GrpSpPr>
        <p:grpSpPr>
          <a:xfrm>
            <a:off x="0" y="-8467"/>
            <a:ext cx="9144001" cy="6866467"/>
            <a:chOff x="0" y="-8467"/>
            <a:chExt cx="12192000" cy="6866467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xmlns="" id="{5C2447E0-8F0D-479C-94E4-82BC8EB68C0C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xmlns="" id="{1F943397-DCDD-44CB-BBA9-9510B7698DD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3">
              <a:extLst>
                <a:ext uri="{FF2B5EF4-FFF2-40B4-BE49-F238E27FC236}">
                  <a16:creationId xmlns:a16="http://schemas.microsoft.com/office/drawing/2014/main" xmlns="" id="{E2630ADC-31DB-4C48-AC4A-DAAE5A7B8EA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5">
              <a:extLst>
                <a:ext uri="{FF2B5EF4-FFF2-40B4-BE49-F238E27FC236}">
                  <a16:creationId xmlns:a16="http://schemas.microsoft.com/office/drawing/2014/main" xmlns="" id="{2CA5C44E-F54E-47E0-8989-4D8686B33C80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xmlns="" id="{FF54E15E-830B-4375-A239-4C51954DEAEC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7">
              <a:extLst>
                <a:ext uri="{FF2B5EF4-FFF2-40B4-BE49-F238E27FC236}">
                  <a16:creationId xmlns:a16="http://schemas.microsoft.com/office/drawing/2014/main" xmlns="" id="{CB37E322-FF7E-4872-BD6B-50A48CBEA5C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8">
              <a:extLst>
                <a:ext uri="{FF2B5EF4-FFF2-40B4-BE49-F238E27FC236}">
                  <a16:creationId xmlns:a16="http://schemas.microsoft.com/office/drawing/2014/main" xmlns="" id="{710D0C1E-D2F8-45B2-AE14-1AC8E976F7A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9">
              <a:extLst>
                <a:ext uri="{FF2B5EF4-FFF2-40B4-BE49-F238E27FC236}">
                  <a16:creationId xmlns:a16="http://schemas.microsoft.com/office/drawing/2014/main" xmlns="" id="{3216331B-17D0-4167-ABD2-B2198058C2D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xmlns="" id="{A53A7A96-3806-4BB3-91DE-6EED48AC787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xmlns="" id="{F8C2B86C-EE71-466E-8991-503F9C9C1B2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xmlns="" val="1"/>
                </p:ext>
              </p:extLst>
            </p:nvPr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7DC58371-C2E8-454E-8FAF-EF3DBE73F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870" y="4066413"/>
            <a:ext cx="6968974" cy="1095059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ctr">
              <a:lnSpc>
                <a:spcPct val="90000"/>
              </a:lnSpc>
            </a:pPr>
            <a:r>
              <a:rPr lang="en-US" sz="2400" dirty="0"/>
              <a:t>Compliance in </a:t>
            </a:r>
            <a:r>
              <a:rPr lang="en-US" sz="2400" dirty="0" err="1"/>
              <a:t>gemeinnützigen</a:t>
            </a:r>
            <a:r>
              <a:rPr lang="en-US" sz="2400" dirty="0"/>
              <a:t> </a:t>
            </a:r>
            <a:r>
              <a:rPr lang="en-US" sz="2400" dirty="0" err="1"/>
              <a:t>Organisationen</a:t>
            </a:r>
            <a:r>
              <a:rPr lang="en-US" sz="2400" dirty="0"/>
              <a:t>: „</a:t>
            </a:r>
            <a:r>
              <a:rPr lang="en-US" sz="2400" dirty="0" err="1"/>
              <a:t>notwendiges</a:t>
            </a:r>
            <a:r>
              <a:rPr lang="en-US" sz="2400" dirty="0"/>
              <a:t> </a:t>
            </a:r>
            <a:r>
              <a:rPr lang="en-US" sz="2400" dirty="0" err="1"/>
              <a:t>Übel</a:t>
            </a:r>
            <a:r>
              <a:rPr lang="en-US" sz="2400" dirty="0"/>
              <a:t>“ </a:t>
            </a:r>
            <a:r>
              <a:rPr lang="en-US" sz="2400" dirty="0" err="1"/>
              <a:t>oder</a:t>
            </a:r>
            <a:r>
              <a:rPr lang="en-US" sz="2400" dirty="0"/>
              <a:t> </a:t>
            </a:r>
            <a:r>
              <a:rPr lang="en-US" sz="2400" dirty="0" err="1"/>
              <a:t>sinnvolle</a:t>
            </a:r>
            <a:r>
              <a:rPr lang="en-US" sz="2400" dirty="0"/>
              <a:t> </a:t>
            </a:r>
            <a:r>
              <a:rPr lang="en-US" sz="2400" dirty="0" err="1"/>
              <a:t>Gestaltungsmöglichkeit</a:t>
            </a:r>
            <a:r>
              <a:rPr lang="en-US" sz="2400" dirty="0"/>
              <a:t>?</a:t>
            </a:r>
            <a:r>
              <a:rPr lang="en-US" sz="1400" dirty="0"/>
              <a:t/>
            </a:r>
            <a:br>
              <a:rPr lang="en-US" sz="1400" dirty="0"/>
            </a:br>
            <a:endParaRPr lang="en-US" sz="14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7BB2E1E4-0969-A442-B540-CD2CD213C1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168" y="1584400"/>
            <a:ext cx="3141593" cy="209701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DBC9FDF1-7869-1E4B-BDFF-2519CBC37B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933213" y="2275349"/>
            <a:ext cx="3022287" cy="635480"/>
          </a:xfrm>
          <a:prstGeom prst="rect">
            <a:avLst/>
          </a:prstGeom>
        </p:spPr>
      </p:pic>
      <p:sp>
        <p:nvSpPr>
          <p:cNvPr id="31" name="Fußzeilenplatzhalter 4">
            <a:extLst>
              <a:ext uri="{FF2B5EF4-FFF2-40B4-BE49-F238E27FC236}">
                <a16:creationId xmlns:a16="http://schemas.microsoft.com/office/drawing/2014/main" xmlns="" id="{26ACFE5A-D46F-7340-AD67-7DCF2492AD84}"/>
              </a:ext>
            </a:extLst>
          </p:cNvPr>
          <p:cNvSpPr txBox="1">
            <a:spLocks/>
          </p:cNvSpPr>
          <p:nvPr/>
        </p:nvSpPr>
        <p:spPr>
          <a:xfrm>
            <a:off x="616671" y="5666154"/>
            <a:ext cx="6381825" cy="7661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>
                <a:solidFill>
                  <a:schemeClr val="bg2"/>
                </a:solidFill>
              </a:rPr>
              <a:t>Dr. Norman-Alexander Leu</a:t>
            </a:r>
            <a:r>
              <a:rPr lang="de-DE" sz="1000" dirty="0">
                <a:solidFill>
                  <a:schemeClr val="bg2"/>
                </a:solidFill>
              </a:rPr>
              <a:t/>
            </a:r>
            <a:br>
              <a:rPr lang="de-DE" sz="1000" dirty="0">
                <a:solidFill>
                  <a:schemeClr val="bg2"/>
                </a:solidFill>
              </a:rPr>
            </a:br>
            <a:r>
              <a:rPr lang="de-DE" sz="1000" dirty="0">
                <a:solidFill>
                  <a:schemeClr val="bg2"/>
                </a:solidFill>
              </a:rPr>
              <a:t>Rechtsanwalt | Zertifizierter Berater für Stiftungen,</a:t>
            </a:r>
            <a:br>
              <a:rPr lang="de-DE" sz="1000" dirty="0">
                <a:solidFill>
                  <a:schemeClr val="bg2"/>
                </a:solidFill>
              </a:rPr>
            </a:br>
            <a:r>
              <a:rPr lang="de-DE" sz="1000" dirty="0">
                <a:solidFill>
                  <a:schemeClr val="bg2"/>
                </a:solidFill>
              </a:rPr>
              <a:t>Fördermittelmanagement und Datenschutz</a:t>
            </a:r>
            <a:r>
              <a:rPr lang="de-DE" sz="900" dirty="0">
                <a:solidFill>
                  <a:schemeClr val="bg2"/>
                </a:solidFill>
              </a:rPr>
              <a:t/>
            </a:r>
            <a:br>
              <a:rPr lang="de-DE" sz="900" dirty="0">
                <a:solidFill>
                  <a:schemeClr val="bg2"/>
                </a:solidFill>
              </a:rPr>
            </a:br>
            <a:endParaRPr lang="de-DE" sz="9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9132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6BCB1DA-BD27-42DE-A668-3CADE72F4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ablauf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xmlns="" id="{83B4172D-0E72-47E8-882D-30734AAD98E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3815643"/>
              </p:ext>
            </p:extLst>
          </p:nvPr>
        </p:nvGraphicFramePr>
        <p:xfrm>
          <a:off x="432183" y="1919970"/>
          <a:ext cx="6767403" cy="4240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7" name="Nach oben gekrümmter Pfeil 26">
            <a:extLst>
              <a:ext uri="{FF2B5EF4-FFF2-40B4-BE49-F238E27FC236}">
                <a16:creationId xmlns:a16="http://schemas.microsoft.com/office/drawing/2014/main" xmlns="" id="{A172B61F-1A27-1244-BC2B-4553E084E166}"/>
              </a:ext>
            </a:extLst>
          </p:cNvPr>
          <p:cNvSpPr/>
          <p:nvPr/>
        </p:nvSpPr>
        <p:spPr>
          <a:xfrm rot="16200000">
            <a:off x="6175046" y="3731256"/>
            <a:ext cx="1434828" cy="830316"/>
          </a:xfrm>
          <a:prstGeom prst="curvedUpArrow">
            <a:avLst/>
          </a:prstGeom>
          <a:solidFill>
            <a:schemeClr val="bg1">
              <a:lumMod val="8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xmlns="" id="{F434896D-C6A4-054C-8DB2-CA2ADEF1CF31}"/>
              </a:ext>
            </a:extLst>
          </p:cNvPr>
          <p:cNvSpPr txBox="1"/>
          <p:nvPr/>
        </p:nvSpPr>
        <p:spPr>
          <a:xfrm>
            <a:off x="7444252" y="3624577"/>
            <a:ext cx="11847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optional nach Phase 2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xmlns="" id="{C00C9488-4A9E-DC43-BDE6-E7BA95CA69AB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24108042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5185ABB-96F1-49AA-B052-B3214383D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8" y="1133102"/>
            <a:ext cx="8014747" cy="761263"/>
          </a:xfrm>
        </p:spPr>
        <p:txBody>
          <a:bodyPr>
            <a:normAutofit/>
          </a:bodyPr>
          <a:lstStyle/>
          <a:p>
            <a:r>
              <a:rPr lang="de-DE" dirty="0"/>
              <a:t>Ermittlung Status quo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B8636C81-DD07-4F0A-ABA1-5F7B2517A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5" y="2159333"/>
            <a:ext cx="7303808" cy="4240198"/>
          </a:xfrm>
        </p:spPr>
        <p:txBody>
          <a:bodyPr>
            <a:normAutofit/>
          </a:bodyPr>
          <a:lstStyle/>
          <a:p>
            <a:r>
              <a:rPr lang="de-DE" dirty="0"/>
              <a:t>Gibt es schon eine Risikoanalyse im Unternehmen? </a:t>
            </a:r>
          </a:p>
          <a:p>
            <a:r>
              <a:rPr lang="de-DE" dirty="0"/>
              <a:t>Wenn ja, welchen Detaillierungsgrad weist diese auf?</a:t>
            </a:r>
          </a:p>
          <a:p>
            <a:r>
              <a:rPr lang="de-DE" dirty="0"/>
              <a:t>Welche Informationsquellen gibt es im Unternehmen (Arbeitsanweisungen, Vertragsmanagement usw.)</a:t>
            </a:r>
          </a:p>
          <a:p>
            <a:r>
              <a:rPr lang="de-DE" dirty="0"/>
              <a:t>Bestehen standardisierte Prozesse oder Hilfsmittel im Zusammenhang mit Risikoerfassung?</a:t>
            </a:r>
          </a:p>
          <a:p>
            <a:r>
              <a:rPr lang="de-DE" dirty="0"/>
              <a:t>Sind die Informationen der Informationsquellen und Prozesse systematisch in die etwaige Risikoanalyse einbezogen und miteinander vernetzt?</a:t>
            </a:r>
          </a:p>
        </p:txBody>
      </p:sp>
    </p:spTree>
    <p:extLst>
      <p:ext uri="{BB962C8B-B14F-4D97-AF65-F5344CB8AC3E}">
        <p14:creationId xmlns:p14="http://schemas.microsoft.com/office/powerpoint/2010/main" val="25421311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5185ABB-96F1-49AA-B052-B3214383D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8" y="1133102"/>
            <a:ext cx="8014747" cy="761263"/>
          </a:xfrm>
        </p:spPr>
        <p:txBody>
          <a:bodyPr>
            <a:normAutofit/>
          </a:bodyPr>
          <a:lstStyle/>
          <a:p>
            <a:r>
              <a:rPr lang="de-DE" dirty="0"/>
              <a:t>Prämissen Zielstruktu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B8636C81-DD07-4F0A-ABA1-5F7B2517A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5" y="2159333"/>
            <a:ext cx="7303808" cy="4240198"/>
          </a:xfrm>
        </p:spPr>
        <p:txBody>
          <a:bodyPr>
            <a:normAutofit/>
          </a:bodyPr>
          <a:lstStyle/>
          <a:p>
            <a:r>
              <a:rPr lang="de-DE" dirty="0"/>
              <a:t>Wie sollte ein handhabbares Managementsystem, das sowohl existenzielle als auch Compliance-Risiken umfasst, zukünftig aussehen und im Unternehmen funktionieren?</a:t>
            </a:r>
          </a:p>
          <a:p>
            <a:r>
              <a:rPr lang="de-DE" dirty="0"/>
              <a:t>Wie werden Gesamtrisiken zukünftig erhoben und dargestellt? </a:t>
            </a:r>
          </a:p>
          <a:p>
            <a:r>
              <a:rPr lang="de-DE" dirty="0"/>
              <a:t>Wie findet eine laufende Fortentwicklung statt? </a:t>
            </a:r>
          </a:p>
          <a:p>
            <a:r>
              <a:rPr lang="de-DE" dirty="0"/>
              <a:t>Bedarf es einer digitalen Lösung? Wenn ja, was sollte diese leisten können?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>
                <a:sym typeface="Wingdings" pitchFamily="2" charset="2"/>
              </a:rPr>
              <a:t> Vorgehen: Ermittlung Status quo und Prämissen im Rahmen von Workshop mit zentralen Ansprechpartnern</a:t>
            </a:r>
            <a:endParaRPr lang="de-DE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xmlns="" id="{8FDCE3E4-257F-964F-A875-6EB7924C402A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18304334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Umsetzungsphase (Eckpunkte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9A19B016-AC40-4627-81BE-2BC9E7A857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4" y="1818290"/>
            <a:ext cx="7030540" cy="4412633"/>
          </a:xfrm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r>
              <a:rPr lang="de-DE" sz="2000" dirty="0">
                <a:solidFill>
                  <a:schemeClr val="bg2"/>
                </a:solidFill>
              </a:rPr>
              <a:t>Zeitraum abhängig von Unternehmensgröße</a:t>
            </a:r>
          </a:p>
          <a:p>
            <a:pPr marL="0" indent="0" algn="ctr">
              <a:buNone/>
            </a:pPr>
            <a:endParaRPr lang="de-DE" sz="2000" dirty="0">
              <a:solidFill>
                <a:schemeClr val="bg2"/>
              </a:solidFill>
            </a:endParaRPr>
          </a:p>
          <a:p>
            <a:r>
              <a:rPr lang="de-DE" dirty="0"/>
              <a:t>Ist-Analyse und Aufbereitung der vorliegenden Informationen</a:t>
            </a:r>
          </a:p>
          <a:p>
            <a:pPr lvl="1"/>
            <a:r>
              <a:rPr lang="de-DE" dirty="0"/>
              <a:t>Entwicklung der unternehmensspezifischen Key-</a:t>
            </a:r>
            <a:r>
              <a:rPr lang="de-DE" dirty="0" err="1"/>
              <a:t>Questions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Risiko-Inventur vor Ort</a:t>
            </a:r>
          </a:p>
          <a:p>
            <a:pPr marL="914400" lvl="2" indent="0">
              <a:buNone/>
            </a:pPr>
            <a:endParaRPr lang="de-DE" dirty="0"/>
          </a:p>
          <a:p>
            <a:r>
              <a:rPr lang="de-DE" dirty="0"/>
              <a:t>Compliance-Risiko-Erhebung</a:t>
            </a:r>
          </a:p>
          <a:p>
            <a:pPr lvl="1"/>
            <a:r>
              <a:rPr lang="de-DE" dirty="0"/>
              <a:t>Vollständigkeitsanalyse</a:t>
            </a:r>
          </a:p>
          <a:p>
            <a:pPr lvl="1"/>
            <a:r>
              <a:rPr lang="de-DE" dirty="0"/>
              <a:t>Ergänzung der Risiko-Inventur um nicht berücksichtigte Risiken</a:t>
            </a:r>
          </a:p>
          <a:p>
            <a:pPr lvl="1"/>
            <a:r>
              <a:rPr lang="de-DE" dirty="0"/>
              <a:t>Strukturierung der Erhebungsergebnisse </a:t>
            </a:r>
          </a:p>
          <a:p>
            <a:pPr lvl="2"/>
            <a:r>
              <a:rPr lang="de-DE" dirty="0"/>
              <a:t>Klassifizierung und Bewertung (Eintrittswahrscheinlichkeiten, Schadensausmaß usw.)</a:t>
            </a:r>
          </a:p>
          <a:p>
            <a:pPr lvl="2"/>
            <a:r>
              <a:rPr lang="de-DE" dirty="0"/>
              <a:t>Handlungsstrategien</a:t>
            </a:r>
          </a:p>
          <a:p>
            <a:pPr lvl="2"/>
            <a:r>
              <a:rPr lang="de-DE" dirty="0"/>
              <a:t>Überwachungsstrategien</a:t>
            </a:r>
          </a:p>
          <a:p>
            <a:pPr lvl="2"/>
            <a:r>
              <a:rPr lang="de-DE" dirty="0"/>
              <a:t>Konzeption der Kommunikationsabläufe</a:t>
            </a:r>
          </a:p>
          <a:p>
            <a:r>
              <a:rPr lang="de-DE" dirty="0"/>
              <a:t>Rückspiegelung und Aktualisieru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70315C03-FF5B-D348-B525-9530B15F6F43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31150099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963" y="995942"/>
            <a:ext cx="7194940" cy="761263"/>
          </a:xfrm>
        </p:spPr>
        <p:txBody>
          <a:bodyPr>
            <a:noAutofit/>
          </a:bodyPr>
          <a:lstStyle/>
          <a:p>
            <a:r>
              <a:rPr lang="de-DE" sz="2400" dirty="0"/>
              <a:t>Exemplarische Darstellung Risiko-Erhebung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xmlns="" id="{0A7FBF39-CE3D-814B-A1D4-1CFAFA0074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1131" y="700148"/>
            <a:ext cx="10541876" cy="9063961"/>
          </a:xfrm>
        </p:spPr>
      </p:pic>
    </p:spTree>
    <p:extLst>
      <p:ext uri="{BB962C8B-B14F-4D97-AF65-F5344CB8AC3E}">
        <p14:creationId xmlns:p14="http://schemas.microsoft.com/office/powerpoint/2010/main" val="1287026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584" y="995942"/>
            <a:ext cx="7614599" cy="761263"/>
          </a:xfrm>
        </p:spPr>
        <p:txBody>
          <a:bodyPr>
            <a:noAutofit/>
          </a:bodyPr>
          <a:lstStyle/>
          <a:p>
            <a:r>
              <a:rPr lang="de-DE" sz="2400" dirty="0"/>
              <a:t>Exemplarische Darstellung Grundstruktur eines Risiko-Inventars mit Compliance-Modul</a:t>
            </a:r>
          </a:p>
        </p:txBody>
      </p:sp>
      <p:pic>
        <p:nvPicPr>
          <p:cNvPr id="12" name="Inhaltsplatzhalter 11">
            <a:extLst>
              <a:ext uri="{FF2B5EF4-FFF2-40B4-BE49-F238E27FC236}">
                <a16:creationId xmlns:a16="http://schemas.microsoft.com/office/drawing/2014/main" xmlns="" id="{F8BD5728-2DA5-0649-8EE3-C0B9FABFC0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85383"/>
            <a:ext cx="9137785" cy="4972617"/>
          </a:xfrm>
        </p:spPr>
      </p:pic>
    </p:spTree>
    <p:extLst>
      <p:ext uri="{BB962C8B-B14F-4D97-AF65-F5344CB8AC3E}">
        <p14:creationId xmlns:p14="http://schemas.microsoft.com/office/powerpoint/2010/main" val="4077820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1133102"/>
            <a:ext cx="7191577" cy="761263"/>
          </a:xfrm>
        </p:spPr>
        <p:txBody>
          <a:bodyPr>
            <a:normAutofit/>
          </a:bodyPr>
          <a:lstStyle/>
          <a:p>
            <a:r>
              <a:rPr lang="de-DE" dirty="0"/>
              <a:t>Phase 2: Roll-out und Digitalisierung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9A19B016-AC40-4627-81BE-2BC9E7A857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5" y="2035995"/>
            <a:ext cx="7324829" cy="4240198"/>
          </a:xfrm>
        </p:spPr>
        <p:txBody>
          <a:bodyPr>
            <a:normAutofit/>
          </a:bodyPr>
          <a:lstStyle/>
          <a:p>
            <a:r>
              <a:rPr lang="de-DE" dirty="0"/>
              <a:t>Erstellung eines Aktualisierungskonzepts</a:t>
            </a:r>
          </a:p>
          <a:p>
            <a:r>
              <a:rPr lang="de-DE" dirty="0"/>
              <a:t>Konzeptionierung der Integration in den Alltag, insbesondere unter Einbeziehung digitaler Lösungen</a:t>
            </a:r>
          </a:p>
          <a:p>
            <a:r>
              <a:rPr lang="de-DE" dirty="0"/>
              <a:t>Entwicklung und Integration von Schulungskonzept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xmlns="" id="{CBE13742-EC04-0845-9A81-FC620781C475}"/>
              </a:ext>
            </a:extLst>
          </p:cNvPr>
          <p:cNvSpPr txBox="1">
            <a:spLocks/>
          </p:cNvSpPr>
          <p:nvPr/>
        </p:nvSpPr>
        <p:spPr>
          <a:xfrm>
            <a:off x="708839" y="3937915"/>
            <a:ext cx="6388570" cy="7612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dirty="0"/>
              <a:t>Phase 3: DIN-Zertifizierung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xmlns="" id="{5D567249-CB59-A04F-8FCF-D18803250E1A}"/>
              </a:ext>
            </a:extLst>
          </p:cNvPr>
          <p:cNvSpPr txBox="1">
            <a:spLocks/>
          </p:cNvSpPr>
          <p:nvPr/>
        </p:nvSpPr>
        <p:spPr>
          <a:xfrm>
            <a:off x="702092" y="4817730"/>
            <a:ext cx="7036129" cy="7612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e-DE" dirty="0"/>
              <a:t>Phase 4: Nachsorge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xmlns="" id="{D50B7F74-1C47-D94F-A89F-37D1ADD323DB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18683930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977654"/>
            <a:ext cx="7194940" cy="761263"/>
          </a:xfrm>
        </p:spPr>
        <p:txBody>
          <a:bodyPr>
            <a:noAutofit/>
          </a:bodyPr>
          <a:lstStyle/>
          <a:p>
            <a:r>
              <a:rPr lang="de-DE" sz="2400" dirty="0"/>
              <a:t>Exemplarische Darstellung Risik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C4901B7A-9F0B-2842-8ED2-40CF57B4EB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97" y="1738917"/>
            <a:ext cx="7467600" cy="4254500"/>
          </a:xfrm>
          <a:prstGeom prst="rect">
            <a:avLst/>
          </a:prstGeom>
        </p:spPr>
      </p:pic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xmlns="" id="{1D3D252F-6474-5A44-AD7E-1CAA05B744D8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39545547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977654"/>
            <a:ext cx="7194940" cy="761263"/>
          </a:xfrm>
        </p:spPr>
        <p:txBody>
          <a:bodyPr>
            <a:noAutofit/>
          </a:bodyPr>
          <a:lstStyle/>
          <a:p>
            <a:r>
              <a:rPr lang="de-DE" sz="2400" dirty="0"/>
              <a:t>Exemplarische Darstellung Auswertung Compliance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7AD22CA3-7388-6B4F-B149-6C7A86EA8B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227" y="1738917"/>
            <a:ext cx="7819697" cy="4757858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D6CC728F-5E95-C246-86AF-F5FA822AB1ED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2824323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977654"/>
            <a:ext cx="7194940" cy="761263"/>
          </a:xfrm>
        </p:spPr>
        <p:txBody>
          <a:bodyPr>
            <a:noAutofit/>
          </a:bodyPr>
          <a:lstStyle/>
          <a:p>
            <a:r>
              <a:rPr lang="de-DE" sz="2400" dirty="0"/>
              <a:t>Exemplarische Darstellung Risikomatrix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xmlns="" id="{EAA01470-3114-8B48-8F16-AAB3F79783D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024" y="2084833"/>
            <a:ext cx="7966245" cy="2941520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1C1C63AE-EF68-5D41-9A8B-390ED7DA368D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2551583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74CF69-6501-4603-8931-DF25EE5F1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genda</a:t>
            </a: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xmlns="" id="{C4C0A1AA-29C3-42C8-9F21-B22ECE04A0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4" y="1990725"/>
            <a:ext cx="7209215" cy="4240198"/>
          </a:xfrm>
        </p:spPr>
        <p:txBody>
          <a:bodyPr>
            <a:normAutofit/>
          </a:bodyPr>
          <a:lstStyle/>
          <a:p>
            <a:pPr>
              <a:buFont typeface="+mj-lt"/>
              <a:buAutoNum type="arabicPeriod"/>
            </a:pPr>
            <a:r>
              <a:rPr lang="de-DE" dirty="0"/>
              <a:t>Gemeinsames Verständnis zur Terminologie „Risiko“</a:t>
            </a:r>
          </a:p>
          <a:p>
            <a:pPr>
              <a:buFont typeface="+mj-lt"/>
              <a:buAutoNum type="arabicPeriod"/>
            </a:pPr>
            <a:r>
              <a:rPr lang="de-DE" dirty="0"/>
              <a:t>Warum mit Risiken befassen?</a:t>
            </a:r>
          </a:p>
          <a:p>
            <a:pPr>
              <a:buFont typeface="+mj-lt"/>
              <a:buAutoNum type="arabicPeriod"/>
            </a:pPr>
            <a:r>
              <a:rPr lang="de-DE" dirty="0"/>
              <a:t>Risiko-Management vs. Compliance-Management</a:t>
            </a:r>
          </a:p>
          <a:p>
            <a:pPr>
              <a:buFont typeface="+mj-lt"/>
              <a:buAutoNum type="arabicPeriod"/>
            </a:pPr>
            <a:r>
              <a:rPr lang="de-DE" dirty="0"/>
              <a:t>Herangehen</a:t>
            </a:r>
          </a:p>
          <a:p>
            <a:pPr marL="800100" lvl="1" indent="-342900">
              <a:buFont typeface="+mj-lt"/>
              <a:buAutoNum type="alphaLcParenR"/>
            </a:pPr>
            <a:r>
              <a:rPr lang="de-DE" dirty="0"/>
              <a:t>Ermittlung Status quo und Prämissen möglicher Zielstruktur</a:t>
            </a:r>
          </a:p>
          <a:p>
            <a:pPr lvl="1">
              <a:buFont typeface="+mj-lt"/>
              <a:buAutoNum type="alphaLcParenR"/>
            </a:pPr>
            <a:r>
              <a:rPr lang="de-DE" dirty="0"/>
              <a:t> Umsetzung</a:t>
            </a:r>
          </a:p>
          <a:p>
            <a:pPr lvl="1">
              <a:buFont typeface="+mj-lt"/>
              <a:buAutoNum type="alphaLcParenR"/>
            </a:pPr>
            <a:r>
              <a:rPr lang="de-DE" dirty="0"/>
              <a:t> Ergebnisse</a:t>
            </a:r>
          </a:p>
          <a:p>
            <a:pPr>
              <a:buFont typeface="+mj-lt"/>
              <a:buAutoNum type="arabicPeriod"/>
            </a:pPr>
            <a:r>
              <a:rPr lang="de-DE" dirty="0"/>
              <a:t>Zusammenfassu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6C6D9D84-63DC-3749-9D73-24DBBA0F3A55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3180227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6BCB1DA-BD27-42DE-A668-3CADE72F4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Zusammenfassung Ablauf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xmlns="" id="{83B4172D-0E72-47E8-882D-30734AAD98E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8719642"/>
              </p:ext>
            </p:extLst>
          </p:nvPr>
        </p:nvGraphicFramePr>
        <p:xfrm>
          <a:off x="220717" y="1894365"/>
          <a:ext cx="7872248" cy="4336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xmlns="" id="{F5F7BAB5-416C-FD40-94E3-FA3AF56132EA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24457758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21137F-A530-458C-BE3A-9D763BE41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8" y="1133102"/>
            <a:ext cx="7173289" cy="761263"/>
          </a:xfrm>
        </p:spPr>
        <p:txBody>
          <a:bodyPr>
            <a:normAutofit/>
          </a:bodyPr>
          <a:lstStyle/>
          <a:p>
            <a:r>
              <a:rPr lang="de-DE" dirty="0"/>
              <a:t>Ergebnisse nach Umsetz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9A19B016-AC40-4627-81BE-2BC9E7A857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162" y="2270236"/>
            <a:ext cx="7878114" cy="3363310"/>
          </a:xfrm>
        </p:spPr>
        <p:txBody>
          <a:bodyPr>
            <a:normAutofit/>
          </a:bodyPr>
          <a:lstStyle/>
          <a:p>
            <a:r>
              <a:rPr lang="de-DE" b="1" dirty="0"/>
              <a:t>Transparenz</a:t>
            </a:r>
            <a:r>
              <a:rPr lang="de-DE" dirty="0"/>
              <a:t> (ggf. im Sinne eines Dash-Boards) hinsichtlich aller wesentlichen Risiken und Verpflichtungen in den einzelnen Abteilungen und Einrichtungen des Unternehmens</a:t>
            </a:r>
          </a:p>
          <a:p>
            <a:r>
              <a:rPr lang="de-DE" dirty="0"/>
              <a:t>Detaillierte </a:t>
            </a:r>
            <a:r>
              <a:rPr lang="de-DE" b="1" dirty="0"/>
              <a:t>Dokumentation</a:t>
            </a:r>
            <a:r>
              <a:rPr lang="de-DE" dirty="0"/>
              <a:t> (Risiken, Maßnahmen der Prävention sowie Vermeidungsstrategien)</a:t>
            </a:r>
          </a:p>
          <a:p>
            <a:r>
              <a:rPr lang="de-DE" dirty="0"/>
              <a:t>Nutzung als </a:t>
            </a:r>
            <a:r>
              <a:rPr lang="de-DE" b="1" dirty="0"/>
              <a:t>proaktives Steuerungsinstrument</a:t>
            </a:r>
          </a:p>
          <a:p>
            <a:r>
              <a:rPr lang="de-DE" dirty="0"/>
              <a:t>Erweiterung zum strategischen Steuerungstool </a:t>
            </a:r>
            <a:r>
              <a:rPr lang="de-DE" b="1" dirty="0"/>
              <a:t>(Balance-Score-Card)</a:t>
            </a:r>
          </a:p>
          <a:p>
            <a:r>
              <a:rPr lang="de-DE" dirty="0"/>
              <a:t>Möglichkeit zur Vornahme der </a:t>
            </a:r>
            <a:r>
              <a:rPr lang="de-DE" b="1" dirty="0"/>
              <a:t>DIN-Zertifizierung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xmlns="" id="{F4420152-6276-0A49-8046-2478803722CC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12763837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5185ABB-96F1-49AA-B052-B3214383D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1133102"/>
            <a:ext cx="7244536" cy="761263"/>
          </a:xfrm>
        </p:spPr>
        <p:txBody>
          <a:bodyPr>
            <a:noAutofit/>
          </a:bodyPr>
          <a:lstStyle/>
          <a:p>
            <a:r>
              <a:rPr lang="de-DE" sz="3200" dirty="0"/>
              <a:t>Zusammenfass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B8636C81-DD07-4F0A-ABA1-5F7B2517A9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1" y="1894365"/>
            <a:ext cx="7735614" cy="4336558"/>
          </a:xfrm>
        </p:spPr>
        <p:txBody>
          <a:bodyPr>
            <a:normAutofit/>
          </a:bodyPr>
          <a:lstStyle/>
          <a:p>
            <a:pPr indent="-285750"/>
            <a:r>
              <a:rPr lang="de-DE" dirty="0"/>
              <a:t>Verschaffung eines Überblicks über die Verpflichtungen und Obliegen-</a:t>
            </a:r>
            <a:r>
              <a:rPr lang="de-DE" dirty="0" err="1"/>
              <a:t>heiten</a:t>
            </a:r>
            <a:r>
              <a:rPr lang="de-DE" dirty="0"/>
              <a:t> im Unternehmen ist eine </a:t>
            </a:r>
            <a:r>
              <a:rPr lang="de-DE" b="1" dirty="0"/>
              <a:t>Geschäftsführungspflicht</a:t>
            </a:r>
          </a:p>
          <a:p>
            <a:pPr indent="-285750"/>
            <a:r>
              <a:rPr lang="de-DE" dirty="0"/>
              <a:t>Detaillierungsgrad ist gesetzlich </a:t>
            </a:r>
            <a:r>
              <a:rPr lang="de-DE" u="sng" dirty="0"/>
              <a:t>nicht</a:t>
            </a:r>
            <a:r>
              <a:rPr lang="de-DE" dirty="0"/>
              <a:t> definiert, aber: je größer das Unternehmen, desto strenger ist tendenziell der Maßstab</a:t>
            </a:r>
          </a:p>
          <a:p>
            <a:pPr indent="-285750"/>
            <a:r>
              <a:rPr lang="de-DE" dirty="0"/>
              <a:t>Compliance-Risiken sind solche, die </a:t>
            </a:r>
            <a:r>
              <a:rPr lang="de-DE" u="sng" dirty="0"/>
              <a:t>nicht</a:t>
            </a:r>
            <a:r>
              <a:rPr lang="de-DE" dirty="0"/>
              <a:t> per se existenzbedrohend sind</a:t>
            </a:r>
          </a:p>
          <a:p>
            <a:pPr indent="-285750"/>
            <a:r>
              <a:rPr lang="de-DE" dirty="0"/>
              <a:t>Compliance-Risiken ergänzen das klassische Risiko-Management und </a:t>
            </a:r>
            <a:r>
              <a:rPr lang="de-DE" b="1" dirty="0"/>
              <a:t>erhöhen den Detaillierungsgrad</a:t>
            </a:r>
            <a:endParaRPr lang="de-DE" dirty="0"/>
          </a:p>
          <a:p>
            <a:pPr marL="457200" lvl="1" indent="0">
              <a:buNone/>
            </a:pPr>
            <a:endParaRPr lang="de-DE" sz="24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479567EF-1B01-6A47-9A02-346DBE336834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14970028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1">
            <a:extLst>
              <a:ext uri="{FF2B5EF4-FFF2-40B4-BE49-F238E27FC236}">
                <a16:creationId xmlns:a16="http://schemas.microsoft.com/office/drawing/2014/main" xmlns="" id="{432953DE-9882-B347-AB62-745CF981A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951" y="2392777"/>
            <a:ext cx="7514014" cy="792088"/>
          </a:xfrm>
        </p:spPr>
        <p:txBody>
          <a:bodyPr>
            <a:normAutofit fontScale="90000"/>
          </a:bodyPr>
          <a:lstStyle/>
          <a:p>
            <a:r>
              <a:rPr lang="de-DE" dirty="0"/>
              <a:t>Wir danken für Ihre Aufmerksamkeit.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xmlns="" id="{B5BBC3C6-EF2A-6849-8B10-0A7DFF83B2B7}"/>
              </a:ext>
            </a:extLst>
          </p:cNvPr>
          <p:cNvSpPr txBox="1">
            <a:spLocks/>
          </p:cNvSpPr>
          <p:nvPr/>
        </p:nvSpPr>
        <p:spPr>
          <a:xfrm>
            <a:off x="715585" y="3184865"/>
            <a:ext cx="6149975" cy="6198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2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/>
              <a:t>Ihre Experten für den Dritten Sektor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xmlns="" id="{497944B7-3B6B-FC44-8F92-DD8EF47E5E06}"/>
              </a:ext>
            </a:extLst>
          </p:cNvPr>
          <p:cNvSpPr txBox="1">
            <a:spLocks/>
          </p:cNvSpPr>
          <p:nvPr/>
        </p:nvSpPr>
        <p:spPr>
          <a:xfrm>
            <a:off x="831509" y="4013654"/>
            <a:ext cx="6149975" cy="107975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>
                <a:latin typeface="+mj-lt"/>
              </a:rPr>
              <a:t>E-Mail für Fragen/Rücksprachen:</a:t>
            </a:r>
            <a:br>
              <a:rPr lang="de-DE" sz="1400" dirty="0">
                <a:latin typeface="+mj-lt"/>
              </a:rPr>
            </a:br>
            <a:r>
              <a:rPr lang="de-DE" sz="1400" dirty="0" err="1">
                <a:latin typeface="+mj-lt"/>
              </a:rPr>
              <a:t>norman.leu@ra-leu.de</a:t>
            </a:r>
            <a:endParaRPr lang="de-DE" sz="1400" dirty="0">
              <a:latin typeface="+mj-lt"/>
            </a:endParaRP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xmlns="" id="{594E3F8F-EA82-D04B-BD1F-AC859618E06A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2189061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74CF69-6501-4603-8931-DF25EE5F1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1133102"/>
            <a:ext cx="7604844" cy="761263"/>
          </a:xfrm>
        </p:spPr>
        <p:txBody>
          <a:bodyPr>
            <a:normAutofit fontScale="90000"/>
          </a:bodyPr>
          <a:lstStyle/>
          <a:p>
            <a:r>
              <a:rPr lang="de-DE" dirty="0"/>
              <a:t>Gemeinsames Verständnis zur Terminologie</a:t>
            </a: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xmlns="" id="{C4C0A1AA-29C3-42C8-9F21-B22ECE04A0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4" y="1990725"/>
            <a:ext cx="7209215" cy="4240198"/>
          </a:xfrm>
        </p:spPr>
        <p:txBody>
          <a:bodyPr>
            <a:normAutofit/>
          </a:bodyPr>
          <a:lstStyle/>
          <a:p>
            <a:r>
              <a:rPr lang="de-DE" dirty="0"/>
              <a:t>Verstöße gegen </a:t>
            </a:r>
            <a:r>
              <a:rPr lang="de-DE" i="1" dirty="0"/>
              <a:t>Verpflichtungen und Obliegenheiten </a:t>
            </a:r>
            <a:r>
              <a:rPr lang="de-DE" dirty="0"/>
              <a:t>einer Organisation </a:t>
            </a:r>
          </a:p>
          <a:p>
            <a:r>
              <a:rPr lang="de-DE" dirty="0"/>
              <a:t>Ohne Verschuldenselement</a:t>
            </a:r>
          </a:p>
          <a:p>
            <a:r>
              <a:rPr lang="de-DE" dirty="0"/>
              <a:t>Ermittlung und Klassifizierung von Risiken im Zuge der Umsetzu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0C802B7A-E57E-6A4A-98AD-A3EA1C38BA0E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3586444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74CF69-6501-4603-8931-DF25EE5F1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1133102"/>
            <a:ext cx="7604844" cy="761263"/>
          </a:xfrm>
        </p:spPr>
        <p:txBody>
          <a:bodyPr>
            <a:normAutofit/>
          </a:bodyPr>
          <a:lstStyle/>
          <a:p>
            <a:r>
              <a:rPr lang="de-DE" dirty="0"/>
              <a:t>Warum mit Risiken befassen?</a:t>
            </a:r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xmlns="" id="{C4C0A1AA-29C3-42C8-9F21-B22ECE04A0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5584" y="1990725"/>
            <a:ext cx="7335340" cy="4240198"/>
          </a:xfrm>
        </p:spPr>
        <p:txBody>
          <a:bodyPr>
            <a:normAutofit/>
          </a:bodyPr>
          <a:lstStyle/>
          <a:p>
            <a:r>
              <a:rPr lang="de-DE" u="sng" dirty="0" err="1"/>
              <a:t>Geschäftsführung</a:t>
            </a:r>
            <a:r>
              <a:rPr lang="de-DE" u="sng" dirty="0"/>
              <a:t>:</a:t>
            </a:r>
            <a:r>
              <a:rPr lang="de-DE" dirty="0"/>
              <a:t> Pflicht Risiken zu identifizieren, zu </a:t>
            </a:r>
            <a:r>
              <a:rPr lang="de-DE" dirty="0" err="1"/>
              <a:t>überwachen</a:t>
            </a:r>
            <a:r>
              <a:rPr lang="de-DE" dirty="0"/>
              <a:t> und zu steuern (§ 43 GmbHG, § 91 Abs. 2 AktG)</a:t>
            </a:r>
          </a:p>
          <a:p>
            <a:endParaRPr lang="de-DE" dirty="0"/>
          </a:p>
          <a:p>
            <a:r>
              <a:rPr lang="de-DE" u="sng" dirty="0"/>
              <a:t>Aufsichtsrat:</a:t>
            </a:r>
            <a:r>
              <a:rPr lang="de-DE" dirty="0"/>
              <a:t> </a:t>
            </a:r>
            <a:r>
              <a:rPr lang="de-DE" dirty="0" err="1"/>
              <a:t>Ü̈berwachung</a:t>
            </a:r>
            <a:r>
              <a:rPr lang="de-DE" dirty="0"/>
              <a:t> der Wirksamkeit der internen Kontroll- und Risikomanagementsysteme der </a:t>
            </a:r>
            <a:r>
              <a:rPr lang="de-DE" dirty="0" err="1"/>
              <a:t>Geschäftsführung</a:t>
            </a:r>
            <a:r>
              <a:rPr lang="de-DE" dirty="0"/>
              <a:t> (§ 107 Abs. 3 AktG, ggf. analog)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11FE6760-678E-244A-82B8-A27C0080CA57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2743873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74CF69-6501-4603-8931-DF25EE5F1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759" y="714"/>
            <a:ext cx="8481848" cy="761263"/>
          </a:xfrm>
        </p:spPr>
        <p:txBody>
          <a:bodyPr>
            <a:normAutofit fontScale="90000"/>
          </a:bodyPr>
          <a:lstStyle/>
          <a:p>
            <a:r>
              <a:rPr lang="de-DE" dirty="0"/>
              <a:t>Verhältnis von Risiko- &amp; Compliance-Management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xmlns="" id="{DF4D3DFE-30D3-F84F-A2EE-C129E43234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0901404"/>
              </p:ext>
            </p:extLst>
          </p:nvPr>
        </p:nvGraphicFramePr>
        <p:xfrm>
          <a:off x="136634" y="1874826"/>
          <a:ext cx="8814692" cy="34754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Dreieck 8">
            <a:extLst>
              <a:ext uri="{FF2B5EF4-FFF2-40B4-BE49-F238E27FC236}">
                <a16:creationId xmlns:a16="http://schemas.microsoft.com/office/drawing/2014/main" xmlns="" id="{3639C972-8A12-CB44-A200-04F4DFBE559F}"/>
              </a:ext>
            </a:extLst>
          </p:cNvPr>
          <p:cNvSpPr/>
          <p:nvPr/>
        </p:nvSpPr>
        <p:spPr bwMode="gray">
          <a:xfrm>
            <a:off x="0" y="761977"/>
            <a:ext cx="9096582" cy="846569"/>
          </a:xfrm>
          <a:prstGeom prst="triangl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4CD46027-68E2-7546-A848-E6837F8F3EA6}"/>
              </a:ext>
            </a:extLst>
          </p:cNvPr>
          <p:cNvSpPr txBox="1">
            <a:spLocks/>
          </p:cNvSpPr>
          <p:nvPr/>
        </p:nvSpPr>
        <p:spPr>
          <a:xfrm>
            <a:off x="2649675" y="1107053"/>
            <a:ext cx="4626411" cy="49350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chemeClr val="bg1"/>
                </a:solidFill>
              </a:rPr>
              <a:t>Unternehmerisches Gesamtrisiko</a:t>
            </a:r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xmlns="" id="{2451496D-3C8B-6441-A369-FA019D941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2393719"/>
              </p:ext>
            </p:extLst>
          </p:nvPr>
        </p:nvGraphicFramePr>
        <p:xfrm>
          <a:off x="47418" y="5234151"/>
          <a:ext cx="9096582" cy="51667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9721090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74CF69-6501-4603-8931-DF25EE5F1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1133102"/>
            <a:ext cx="7604844" cy="761263"/>
          </a:xfrm>
        </p:spPr>
        <p:txBody>
          <a:bodyPr>
            <a:normAutofit/>
          </a:bodyPr>
          <a:lstStyle/>
          <a:p>
            <a:r>
              <a:rPr lang="de-DE" dirty="0"/>
              <a:t>Risiko-Management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xmlns="" id="{FBA28C1B-DE56-3F42-8C0C-FCC35381410D}"/>
              </a:ext>
            </a:extLst>
          </p:cNvPr>
          <p:cNvSpPr txBox="1">
            <a:spLocks/>
          </p:cNvSpPr>
          <p:nvPr/>
        </p:nvSpPr>
        <p:spPr>
          <a:xfrm>
            <a:off x="810440" y="2112579"/>
            <a:ext cx="7314055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Ziele: Sicherung des Fortbestandes des Unternehmens und Steigerung des Unternehmenswertes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4797088A-8246-1E43-BF6E-07C23F631895}"/>
              </a:ext>
            </a:extLst>
          </p:cNvPr>
          <p:cNvSpPr txBox="1">
            <a:spLocks/>
          </p:cNvSpPr>
          <p:nvPr/>
        </p:nvSpPr>
        <p:spPr bwMode="gray">
          <a:xfrm>
            <a:off x="810440" y="3236887"/>
            <a:ext cx="6636050" cy="3007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507F98"/>
              </a:buClr>
              <a:buFont typeface="+mj-lt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+mj-lt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81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40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tx2"/>
                </a:solidFill>
              </a:rPr>
              <a:t>Inhalt: Gesamtschau </a:t>
            </a:r>
            <a:r>
              <a:rPr lang="de-DE" sz="2000" dirty="0">
                <a:solidFill>
                  <a:schemeClr val="tx2"/>
                </a:solidFill>
              </a:rPr>
              <a:t>existenzrelevanter</a:t>
            </a:r>
            <a:r>
              <a:rPr lang="de-DE" sz="2000" b="0" dirty="0">
                <a:solidFill>
                  <a:schemeClr val="tx2"/>
                </a:solidFill>
              </a:rPr>
              <a:t> Risik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xmlns="" id="{41D36E11-7142-C14B-949F-74D55FBA9595}"/>
              </a:ext>
            </a:extLst>
          </p:cNvPr>
          <p:cNvSpPr txBox="1">
            <a:spLocks/>
          </p:cNvSpPr>
          <p:nvPr/>
        </p:nvSpPr>
        <p:spPr bwMode="gray">
          <a:xfrm>
            <a:off x="810441" y="4009215"/>
            <a:ext cx="7045112" cy="1270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507F98"/>
              </a:buClr>
              <a:buFont typeface="+mj-lt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+mj-lt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81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40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tx2"/>
                </a:solidFill>
              </a:rPr>
              <a:t>Maßnahmen: Messung und Bewertung der essentieller Bereiche, insbesondere </a:t>
            </a:r>
            <a:r>
              <a:rPr lang="de-DE" sz="2000" dirty="0">
                <a:solidFill>
                  <a:schemeClr val="tx2"/>
                </a:solidFill>
              </a:rPr>
              <a:t>unter Zugrundelegung von Kennzahlen </a:t>
            </a:r>
            <a:r>
              <a:rPr lang="de-DE" sz="2000" b="0" dirty="0">
                <a:solidFill>
                  <a:schemeClr val="tx2"/>
                </a:solidFill>
              </a:rPr>
              <a:t>und Entscheidung bezüglich Umgang mit den Risiken</a:t>
            </a: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xmlns="" id="{74D31ED9-EA66-B74D-918D-563D1F15A885}"/>
              </a:ext>
            </a:extLst>
          </p:cNvPr>
          <p:cNvSpPr/>
          <p:nvPr/>
        </p:nvSpPr>
        <p:spPr bwMode="gray">
          <a:xfrm>
            <a:off x="245195" y="2198567"/>
            <a:ext cx="353569" cy="333505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ichtungspfeil 9">
            <a:extLst>
              <a:ext uri="{FF2B5EF4-FFF2-40B4-BE49-F238E27FC236}">
                <a16:creationId xmlns:a16="http://schemas.microsoft.com/office/drawing/2014/main" xmlns="" id="{37457D63-C61F-0845-9974-9EA41F49740D}"/>
              </a:ext>
            </a:extLst>
          </p:cNvPr>
          <p:cNvSpPr/>
          <p:nvPr/>
        </p:nvSpPr>
        <p:spPr bwMode="gray">
          <a:xfrm>
            <a:off x="236398" y="3142989"/>
            <a:ext cx="353569" cy="333505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ichtungspfeil 10">
            <a:extLst>
              <a:ext uri="{FF2B5EF4-FFF2-40B4-BE49-F238E27FC236}">
                <a16:creationId xmlns:a16="http://schemas.microsoft.com/office/drawing/2014/main" xmlns="" id="{EC773D7A-9E0A-7B45-9592-0A281DBEB829}"/>
              </a:ext>
            </a:extLst>
          </p:cNvPr>
          <p:cNvSpPr/>
          <p:nvPr/>
        </p:nvSpPr>
        <p:spPr bwMode="gray">
          <a:xfrm>
            <a:off x="236398" y="4085572"/>
            <a:ext cx="353569" cy="333505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xmlns="" id="{AB1BE560-43D4-9740-976D-AF3A4D89A5B1}"/>
              </a:ext>
            </a:extLst>
          </p:cNvPr>
          <p:cNvCxnSpPr>
            <a:cxnSpLocks/>
          </p:cNvCxnSpPr>
          <p:nvPr/>
        </p:nvCxnSpPr>
        <p:spPr bwMode="gray">
          <a:xfrm>
            <a:off x="810441" y="3013304"/>
            <a:ext cx="53433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xmlns="" id="{E19806E6-D945-4942-9D6D-480427A73262}"/>
              </a:ext>
            </a:extLst>
          </p:cNvPr>
          <p:cNvCxnSpPr>
            <a:cxnSpLocks/>
          </p:cNvCxnSpPr>
          <p:nvPr/>
        </p:nvCxnSpPr>
        <p:spPr bwMode="gray">
          <a:xfrm>
            <a:off x="810441" y="3801104"/>
            <a:ext cx="53433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xmlns="" id="{FAD2DA10-F17C-8E4C-95E7-2C1DE5B93CF7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1475380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74CF69-6501-4603-8931-DF25EE5F1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1133102"/>
            <a:ext cx="7604844" cy="761263"/>
          </a:xfrm>
        </p:spPr>
        <p:txBody>
          <a:bodyPr>
            <a:normAutofit/>
          </a:bodyPr>
          <a:lstStyle/>
          <a:p>
            <a:r>
              <a:rPr lang="de-DE" dirty="0"/>
              <a:t>Compliance-Management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xmlns="" id="{607C1C26-E3C2-C649-A0CF-DE057B73AB10}"/>
              </a:ext>
            </a:extLst>
          </p:cNvPr>
          <p:cNvSpPr txBox="1">
            <a:spLocks/>
          </p:cNvSpPr>
          <p:nvPr/>
        </p:nvSpPr>
        <p:spPr>
          <a:xfrm>
            <a:off x="830317" y="2078809"/>
            <a:ext cx="738877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Ziele: Vermeidung von Haftung und (mittelbar) vor „bösem Anschein“ bzgl. Unternehmen und Mitgliedern von Leitungs- und Kontrollgremien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xmlns="" id="{5F85DB08-7428-5043-9B39-E691B526477C}"/>
              </a:ext>
            </a:extLst>
          </p:cNvPr>
          <p:cNvSpPr txBox="1">
            <a:spLocks/>
          </p:cNvSpPr>
          <p:nvPr/>
        </p:nvSpPr>
        <p:spPr bwMode="gray">
          <a:xfrm>
            <a:off x="830318" y="3392790"/>
            <a:ext cx="7388774" cy="94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507F98"/>
              </a:buClr>
              <a:buFont typeface="+mj-lt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+mj-lt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81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40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tx2"/>
                </a:solidFill>
              </a:rPr>
              <a:t>Inhalte: Prävention vor </a:t>
            </a:r>
            <a:r>
              <a:rPr lang="de-DE" sz="2000" dirty="0">
                <a:solidFill>
                  <a:schemeClr val="tx2"/>
                </a:solidFill>
              </a:rPr>
              <a:t>rechtlichen und regelbezogenen Verstößen</a:t>
            </a:r>
            <a:r>
              <a:rPr lang="de-DE" sz="2000" b="0" dirty="0">
                <a:solidFill>
                  <a:schemeClr val="tx2"/>
                </a:solidFill>
              </a:rPr>
              <a:t> und Förderung regelkonformen Verhalten durch Schaffung von Transparenz 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xmlns="" id="{D3C90920-AF7D-8F48-84F2-F4406A7F7CEB}"/>
              </a:ext>
            </a:extLst>
          </p:cNvPr>
          <p:cNvSpPr txBox="1">
            <a:spLocks/>
          </p:cNvSpPr>
          <p:nvPr/>
        </p:nvSpPr>
        <p:spPr bwMode="gray">
          <a:xfrm>
            <a:off x="858613" y="4816134"/>
            <a:ext cx="7458782" cy="1270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507F98"/>
              </a:buClr>
              <a:buFont typeface="+mj-lt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+mj-lt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81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40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tx2"/>
                </a:solidFill>
              </a:rPr>
              <a:t>Maßnahmen: Erfassung von relevanten, </a:t>
            </a:r>
            <a:r>
              <a:rPr lang="de-DE" sz="2000" dirty="0">
                <a:solidFill>
                  <a:schemeClr val="tx2"/>
                </a:solidFill>
              </a:rPr>
              <a:t>nicht zwingende nur existenziellen </a:t>
            </a:r>
            <a:r>
              <a:rPr lang="de-DE" sz="2000" b="0" dirty="0">
                <a:solidFill>
                  <a:schemeClr val="tx2"/>
                </a:solidFill>
              </a:rPr>
              <a:t>Verpflichtung, Bewertung dieser und Entwicklung von Entscheidungs- und Verhaltensvarianten und/oder Verhaltensanweisungen</a:t>
            </a:r>
          </a:p>
        </p:txBody>
      </p:sp>
      <p:sp>
        <p:nvSpPr>
          <p:cNvPr id="17" name="Richtungspfeil 16">
            <a:extLst>
              <a:ext uri="{FF2B5EF4-FFF2-40B4-BE49-F238E27FC236}">
                <a16:creationId xmlns:a16="http://schemas.microsoft.com/office/drawing/2014/main" xmlns="" id="{111751C3-4AEB-1340-A27A-74BCB99BE6CE}"/>
              </a:ext>
            </a:extLst>
          </p:cNvPr>
          <p:cNvSpPr/>
          <p:nvPr/>
        </p:nvSpPr>
        <p:spPr bwMode="gray">
          <a:xfrm>
            <a:off x="217029" y="2246669"/>
            <a:ext cx="366446" cy="318193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ichtungspfeil 17">
            <a:extLst>
              <a:ext uri="{FF2B5EF4-FFF2-40B4-BE49-F238E27FC236}">
                <a16:creationId xmlns:a16="http://schemas.microsoft.com/office/drawing/2014/main" xmlns="" id="{769B2A2C-E904-4843-A40E-CF270404E9AB}"/>
              </a:ext>
            </a:extLst>
          </p:cNvPr>
          <p:cNvSpPr/>
          <p:nvPr/>
        </p:nvSpPr>
        <p:spPr bwMode="gray">
          <a:xfrm>
            <a:off x="217029" y="3411465"/>
            <a:ext cx="366446" cy="318193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9" name="Richtungspfeil 18">
            <a:extLst>
              <a:ext uri="{FF2B5EF4-FFF2-40B4-BE49-F238E27FC236}">
                <a16:creationId xmlns:a16="http://schemas.microsoft.com/office/drawing/2014/main" xmlns="" id="{59568C26-76CF-3843-B97F-82D5DA932145}"/>
              </a:ext>
            </a:extLst>
          </p:cNvPr>
          <p:cNvSpPr/>
          <p:nvPr/>
        </p:nvSpPr>
        <p:spPr bwMode="gray">
          <a:xfrm>
            <a:off x="217029" y="4884906"/>
            <a:ext cx="366446" cy="318193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xmlns="" id="{B1CF7E33-33E0-AC41-B2EB-069BBD75A813}"/>
              </a:ext>
            </a:extLst>
          </p:cNvPr>
          <p:cNvCxnSpPr>
            <a:cxnSpLocks/>
          </p:cNvCxnSpPr>
          <p:nvPr/>
        </p:nvCxnSpPr>
        <p:spPr bwMode="gray">
          <a:xfrm>
            <a:off x="858613" y="3172045"/>
            <a:ext cx="553790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xmlns="" id="{DE525CDF-3A4D-DF4C-A66F-10689CD97D66}"/>
              </a:ext>
            </a:extLst>
          </p:cNvPr>
          <p:cNvCxnSpPr>
            <a:cxnSpLocks/>
          </p:cNvCxnSpPr>
          <p:nvPr/>
        </p:nvCxnSpPr>
        <p:spPr bwMode="gray">
          <a:xfrm>
            <a:off x="830317" y="4565469"/>
            <a:ext cx="553790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xmlns="" id="{84E7DA37-85CF-6443-A3D1-3865EF1A9FC3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911527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74CF69-6501-4603-8931-DF25EE5F1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839" y="1133102"/>
            <a:ext cx="7604844" cy="761263"/>
          </a:xfrm>
        </p:spPr>
        <p:txBody>
          <a:bodyPr>
            <a:normAutofit fontScale="90000"/>
          </a:bodyPr>
          <a:lstStyle/>
          <a:p>
            <a:r>
              <a:rPr lang="de-DE" dirty="0"/>
              <a:t>Abgrenzung beider Management-System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xmlns="" id="{65D52BDC-C1B1-3E49-9510-E748C4445A5C}"/>
              </a:ext>
            </a:extLst>
          </p:cNvPr>
          <p:cNvSpPr txBox="1">
            <a:spLocks/>
          </p:cNvSpPr>
          <p:nvPr/>
        </p:nvSpPr>
        <p:spPr>
          <a:xfrm>
            <a:off x="809296" y="3449293"/>
            <a:ext cx="751454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2000" dirty="0"/>
              <a:t>Beide Systeme greifen ineinander, da betriebliche Risiken oft eine rechtliche und damit haftungsrechtliche Dimension habe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xmlns="" id="{AB40265C-AC34-024C-B1E7-2816B788D44C}"/>
              </a:ext>
            </a:extLst>
          </p:cNvPr>
          <p:cNvSpPr txBox="1">
            <a:spLocks/>
          </p:cNvSpPr>
          <p:nvPr/>
        </p:nvSpPr>
        <p:spPr bwMode="gray">
          <a:xfrm>
            <a:off x="809296" y="2036890"/>
            <a:ext cx="7909636" cy="945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507F98"/>
              </a:buClr>
              <a:buFont typeface="+mj-lt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+mj-lt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81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40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/>
              <a:t>Compliance-Management hat die Vermeidung rechtlicher und regelbezogener Verstöße zum Gegenstand, Risiko-Management essentielle Unternehmensrisik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xmlns="" id="{D24E00D8-3FD5-9542-8E0B-561BE60C905F}"/>
              </a:ext>
            </a:extLst>
          </p:cNvPr>
          <p:cNvSpPr txBox="1">
            <a:spLocks/>
          </p:cNvSpPr>
          <p:nvPr/>
        </p:nvSpPr>
        <p:spPr bwMode="gray">
          <a:xfrm>
            <a:off x="809296" y="4750883"/>
            <a:ext cx="7514541" cy="945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507F98"/>
              </a:buClr>
              <a:buFont typeface="+mj-lt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+mj-lt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363" indent="-180975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8163" indent="-17780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lang="de-DE" sz="140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/>
              <a:t>Compliance-Risiken ergänzen die existenzbedrohenden, betrieblichen Risiken </a:t>
            </a:r>
            <a:r>
              <a:rPr lang="de-DE" sz="2000" b="0" dirty="0">
                <a:sym typeface="Wingdings" pitchFamily="2" charset="2"/>
              </a:rPr>
              <a:t> </a:t>
            </a:r>
            <a:r>
              <a:rPr lang="de-DE" sz="2000" dirty="0">
                <a:sym typeface="Wingdings" pitchFamily="2" charset="2"/>
              </a:rPr>
              <a:t>beide Risikoklassen lassen sich gemeinsam identifizieren</a:t>
            </a:r>
            <a:endParaRPr lang="de-DE" sz="2000" dirty="0"/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xmlns="" id="{CE5FBB94-35D7-A846-BE0F-163DCE7C8FD4}"/>
              </a:ext>
            </a:extLst>
          </p:cNvPr>
          <p:cNvCxnSpPr/>
          <p:nvPr/>
        </p:nvCxnSpPr>
        <p:spPr bwMode="gray">
          <a:xfrm>
            <a:off x="826833" y="3218676"/>
            <a:ext cx="59737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xmlns="" id="{0EDF9829-0CB1-1845-BB6F-648806C16918}"/>
              </a:ext>
            </a:extLst>
          </p:cNvPr>
          <p:cNvCxnSpPr/>
          <p:nvPr/>
        </p:nvCxnSpPr>
        <p:spPr bwMode="gray">
          <a:xfrm>
            <a:off x="809296" y="4407864"/>
            <a:ext cx="59737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ichtungspfeil 23">
            <a:extLst>
              <a:ext uri="{FF2B5EF4-FFF2-40B4-BE49-F238E27FC236}">
                <a16:creationId xmlns:a16="http://schemas.microsoft.com/office/drawing/2014/main" xmlns="" id="{0BDC532A-5519-5441-B064-347C933D0313}"/>
              </a:ext>
            </a:extLst>
          </p:cNvPr>
          <p:cNvSpPr/>
          <p:nvPr/>
        </p:nvSpPr>
        <p:spPr bwMode="gray">
          <a:xfrm>
            <a:off x="151798" y="2229328"/>
            <a:ext cx="395287" cy="395287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5" name="Richtungspfeil 24">
            <a:extLst>
              <a:ext uri="{FF2B5EF4-FFF2-40B4-BE49-F238E27FC236}">
                <a16:creationId xmlns:a16="http://schemas.microsoft.com/office/drawing/2014/main" xmlns="" id="{FA9276CE-3405-ED48-B606-1D4F2BFCF1E1}"/>
              </a:ext>
            </a:extLst>
          </p:cNvPr>
          <p:cNvSpPr/>
          <p:nvPr/>
        </p:nvSpPr>
        <p:spPr bwMode="gray">
          <a:xfrm>
            <a:off x="151609" y="3593114"/>
            <a:ext cx="395287" cy="395287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Richtungspfeil 25">
            <a:extLst>
              <a:ext uri="{FF2B5EF4-FFF2-40B4-BE49-F238E27FC236}">
                <a16:creationId xmlns:a16="http://schemas.microsoft.com/office/drawing/2014/main" xmlns="" id="{46EDF7AE-205D-6B49-A6CE-AFF0CABA658B}"/>
              </a:ext>
            </a:extLst>
          </p:cNvPr>
          <p:cNvSpPr/>
          <p:nvPr/>
        </p:nvSpPr>
        <p:spPr bwMode="gray">
          <a:xfrm>
            <a:off x="151608" y="4917770"/>
            <a:ext cx="395287" cy="395287"/>
          </a:xfrm>
          <a:prstGeom prst="homePlate">
            <a:avLst>
              <a:gd name="adj" fmla="val 30723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xmlns="" id="{ED3F3875-B891-C044-8E0E-5B90EFAAB1ED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3972956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7DC58371-C2E8-454E-8FAF-EF3DBE73F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msetzungsbeispi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048E2DE6-9FFF-46CD-946B-4C9D7B25D35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rojektablauf 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xmlns="" id="{E218E0AA-A058-DA4E-9D8E-5D770ECA3860}"/>
              </a:ext>
            </a:extLst>
          </p:cNvPr>
          <p:cNvSpPr txBox="1">
            <a:spLocks/>
          </p:cNvSpPr>
          <p:nvPr/>
        </p:nvSpPr>
        <p:spPr>
          <a:xfrm>
            <a:off x="715585" y="6276193"/>
            <a:ext cx="6381825" cy="246677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bg2"/>
                </a:solidFill>
              </a:rPr>
              <a:t>Compliance in gemeinnützigen Organisationen, 29.08.2019</a:t>
            </a:r>
          </a:p>
        </p:txBody>
      </p:sp>
    </p:spTree>
    <p:extLst>
      <p:ext uri="{BB962C8B-B14F-4D97-AF65-F5344CB8AC3E}">
        <p14:creationId xmlns:p14="http://schemas.microsoft.com/office/powerpoint/2010/main" val="971382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theme/theme1.xml><?xml version="1.0" encoding="utf-8"?>
<a:theme xmlns:a="http://schemas.openxmlformats.org/drawingml/2006/main" name="Sonderfolien">
  <a:themeElements>
    <a:clrScheme name="Kanzlei LEU">
      <a:dk1>
        <a:srgbClr val="173E0C"/>
      </a:dk1>
      <a:lt1>
        <a:sysClr val="window" lastClr="FFFFFF"/>
      </a:lt1>
      <a:dk2>
        <a:srgbClr val="000000"/>
      </a:dk2>
      <a:lt2>
        <a:srgbClr val="2E7C18"/>
      </a:lt2>
      <a:accent1>
        <a:srgbClr val="173E0C"/>
      </a:accent1>
      <a:accent2>
        <a:srgbClr val="2E7C18"/>
      </a:accent2>
      <a:accent3>
        <a:srgbClr val="000000"/>
      </a:accent3>
      <a:accent4>
        <a:srgbClr val="000000"/>
      </a:accent4>
      <a:accent5>
        <a:srgbClr val="000000"/>
      </a:accent5>
      <a:accent6>
        <a:srgbClr val="000000"/>
      </a:accent6>
      <a:hlink>
        <a:srgbClr val="173E0C"/>
      </a:hlink>
      <a:folHlink>
        <a:srgbClr val="2E7C18"/>
      </a:folHlink>
    </a:clrScheme>
    <a:fontScheme name="Primäre Typographie">
      <a:majorFont>
        <a:latin typeface="Source Serif"/>
        <a:ea typeface=""/>
        <a:cs typeface=""/>
      </a:majorFont>
      <a:minorFont>
        <a:latin typeface="Arial"/>
        <a:ea typeface=""/>
        <a:cs typeface=""/>
      </a:minorFont>
    </a:fontScheme>
    <a:fmtScheme name="Facett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Inhaltsfolien">
  <a:themeElements>
    <a:clrScheme name="Kanzlei LEU">
      <a:dk1>
        <a:srgbClr val="173E0C"/>
      </a:dk1>
      <a:lt1>
        <a:sysClr val="window" lastClr="FFFFFF"/>
      </a:lt1>
      <a:dk2>
        <a:srgbClr val="000000"/>
      </a:dk2>
      <a:lt2>
        <a:srgbClr val="2E7C18"/>
      </a:lt2>
      <a:accent1>
        <a:srgbClr val="173E0C"/>
      </a:accent1>
      <a:accent2>
        <a:srgbClr val="2E7C18"/>
      </a:accent2>
      <a:accent3>
        <a:srgbClr val="000000"/>
      </a:accent3>
      <a:accent4>
        <a:srgbClr val="000000"/>
      </a:accent4>
      <a:accent5>
        <a:srgbClr val="000000"/>
      </a:accent5>
      <a:accent6>
        <a:srgbClr val="000000"/>
      </a:accent6>
      <a:hlink>
        <a:srgbClr val="173E0C"/>
      </a:hlink>
      <a:folHlink>
        <a:srgbClr val="2E7C18"/>
      </a:folHlink>
    </a:clrScheme>
    <a:fontScheme name="Primäre Typographie">
      <a:majorFont>
        <a:latin typeface="Source Serif"/>
        <a:ea typeface=""/>
        <a:cs typeface=""/>
      </a:majorFont>
      <a:minorFont>
        <a:latin typeface="Arial"/>
        <a:ea typeface=""/>
        <a:cs typeface=""/>
      </a:minorFont>
    </a:fontScheme>
    <a:fmtScheme name="Facette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Larissa">
  <a:themeElements>
    <a:clrScheme name="Münchenstift">
      <a:dk1>
        <a:srgbClr val="72685E"/>
      </a:dk1>
      <a:lt1>
        <a:sysClr val="window" lastClr="FFFFFF"/>
      </a:lt1>
      <a:dk2>
        <a:srgbClr val="EFEDEC"/>
      </a:dk2>
      <a:lt2>
        <a:srgbClr val="007591"/>
      </a:lt2>
      <a:accent1>
        <a:srgbClr val="007591"/>
      </a:accent1>
      <a:accent2>
        <a:srgbClr val="DDE7EE"/>
      </a:accent2>
      <a:accent3>
        <a:srgbClr val="BCD0DC"/>
      </a:accent3>
      <a:accent4>
        <a:srgbClr val="8DB3C6"/>
      </a:accent4>
      <a:accent5>
        <a:srgbClr val="4E92AB"/>
      </a:accent5>
      <a:accent6>
        <a:srgbClr val="005069"/>
      </a:accent6>
      <a:hlink>
        <a:srgbClr val="72685E"/>
      </a:hlink>
      <a:folHlink>
        <a:srgbClr val="72685E"/>
      </a:folHlink>
    </a:clrScheme>
    <a:fontScheme name="Primäre Typographie">
      <a:majorFont>
        <a:latin typeface="Source Serif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6350">
          <a:solidFill>
            <a:schemeClr val="tx1"/>
          </a:solidFill>
        </a:ln>
      </a:spPr>
      <a:bodyPr lIns="72000" tIns="36000" rIns="72000" bIns="36000"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26000" indent="-126000">
          <a:buBlip>
            <a:blip xmlns:r="http://schemas.openxmlformats.org/officeDocument/2006/relationships" r:embed="rId1"/>
          </a:buBlip>
          <a:defRPr sz="11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Larissa">
  <a:themeElements>
    <a:clrScheme name="Münchenstift">
      <a:dk1>
        <a:srgbClr val="72685E"/>
      </a:dk1>
      <a:lt1>
        <a:sysClr val="window" lastClr="FFFFFF"/>
      </a:lt1>
      <a:dk2>
        <a:srgbClr val="EFEDEC"/>
      </a:dk2>
      <a:lt2>
        <a:srgbClr val="007591"/>
      </a:lt2>
      <a:accent1>
        <a:srgbClr val="007591"/>
      </a:accent1>
      <a:accent2>
        <a:srgbClr val="DDE7EE"/>
      </a:accent2>
      <a:accent3>
        <a:srgbClr val="BCD0DC"/>
      </a:accent3>
      <a:accent4>
        <a:srgbClr val="8DB3C6"/>
      </a:accent4>
      <a:accent5>
        <a:srgbClr val="4E92AB"/>
      </a:accent5>
      <a:accent6>
        <a:srgbClr val="005069"/>
      </a:accent6>
      <a:hlink>
        <a:srgbClr val="72685E"/>
      </a:hlink>
      <a:folHlink>
        <a:srgbClr val="72685E"/>
      </a:folHlink>
    </a:clrScheme>
    <a:fontScheme name="Münchenstift">
      <a:majorFont>
        <a:latin typeface="Georgia"/>
        <a:ea typeface=""/>
        <a:cs typeface=""/>
      </a:majorFont>
      <a:minorFont>
        <a:latin typeface="Lucida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6350">
          <a:solidFill>
            <a:schemeClr val="tx1"/>
          </a:solidFill>
        </a:ln>
      </a:spPr>
      <a:bodyPr lIns="72000" tIns="36000" rIns="72000" bIns="36000"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26000" indent="-126000">
          <a:buBlip>
            <a:blip xmlns:r="http://schemas.openxmlformats.org/officeDocument/2006/relationships" r:embed="rId1"/>
          </a:buBlip>
          <a:defRPr sz="11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0</Words>
  <Application>Microsoft Office PowerPoint</Application>
  <PresentationFormat>Bildschirmpräsentation (4:3)</PresentationFormat>
  <Paragraphs>148</Paragraphs>
  <Slides>23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6" baseType="lpstr">
      <vt:lpstr>Sonderfolien</vt:lpstr>
      <vt:lpstr>Inhaltsfolien</vt:lpstr>
      <vt:lpstr>think-cell Folie</vt:lpstr>
      <vt:lpstr>Compliance in gemeinnützigen Organisationen: „notwendiges Übel“ oder sinnvolle Gestaltungsmöglichkeit? </vt:lpstr>
      <vt:lpstr>Agenda</vt:lpstr>
      <vt:lpstr>Gemeinsames Verständnis zur Terminologie</vt:lpstr>
      <vt:lpstr>Warum mit Risiken befassen?</vt:lpstr>
      <vt:lpstr>Verhältnis von Risiko- &amp; Compliance-Management</vt:lpstr>
      <vt:lpstr>Risiko-Management</vt:lpstr>
      <vt:lpstr>Compliance-Management</vt:lpstr>
      <vt:lpstr>Abgrenzung beider Management-Systeme</vt:lpstr>
      <vt:lpstr>Umsetzungsbeispiel</vt:lpstr>
      <vt:lpstr>Projektablauf</vt:lpstr>
      <vt:lpstr>Ermittlung Status quo</vt:lpstr>
      <vt:lpstr>Prämissen Zielstruktur</vt:lpstr>
      <vt:lpstr>Umsetzungsphase (Eckpunkte)</vt:lpstr>
      <vt:lpstr>Exemplarische Darstellung Risiko-Erhebung</vt:lpstr>
      <vt:lpstr>Exemplarische Darstellung Grundstruktur eines Risiko-Inventars mit Compliance-Modul</vt:lpstr>
      <vt:lpstr>Phase 2: Roll-out und Digitalisierung </vt:lpstr>
      <vt:lpstr>Exemplarische Darstellung Risiken</vt:lpstr>
      <vt:lpstr>Exemplarische Darstellung Auswertung Compliance </vt:lpstr>
      <vt:lpstr>Exemplarische Darstellung Risikomatrix</vt:lpstr>
      <vt:lpstr>Zusammenfassung Ablauf</vt:lpstr>
      <vt:lpstr>Ergebnisse nach Umsetzung</vt:lpstr>
      <vt:lpstr>Zusammenfassung</vt:lpstr>
      <vt:lpstr>Wir danken für Ihre Aufmerksamkeit.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liance in gemeinnützigen Organisationen: „notwendiges Übel“ oder sinnvolle Gestaltungsmöglichkeit?</dc:title>
  <dc:creator>Leu, RA Dr. Norman-Alexander</dc:creator>
  <cp:lastModifiedBy>Sabine Wollin</cp:lastModifiedBy>
  <cp:revision>33</cp:revision>
  <cp:lastPrinted>2019-08-28T11:31:37Z</cp:lastPrinted>
  <dcterms:created xsi:type="dcterms:W3CDTF">2019-08-28T05:51:09Z</dcterms:created>
  <dcterms:modified xsi:type="dcterms:W3CDTF">2019-08-28T11:52:23Z</dcterms:modified>
</cp:coreProperties>
</file>